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2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58" r:id="rId5"/>
    <p:sldMasterId id="2147483862" r:id="rId6"/>
  </p:sldMasterIdLst>
  <p:notesMasterIdLst>
    <p:notesMasterId r:id="rId11"/>
  </p:notesMasterIdLst>
  <p:sldIdLst>
    <p:sldId id="2147472453" r:id="rId7"/>
    <p:sldId id="2147472382" r:id="rId8"/>
    <p:sldId id="810" r:id="rId9"/>
    <p:sldId id="638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3" d="100"/>
          <a:sy n="73" d="100"/>
        </p:scale>
        <p:origin x="61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7D8841-F433-4139-A357-06AD8DD7AF26}" type="datetimeFigureOut">
              <a:rPr lang="en-IN" smtClean="0"/>
              <a:t>02-12-2022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F44EDA-E75B-49D7-A580-70A79C3711E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170594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2240A1-F8B7-4FCD-8D74-840B4B968B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09048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ofile 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9718DD-4AAF-4D8A-BA7D-B91CCB27E3C3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93015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C9F161-07A6-48A8-844D-651C99E29A4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5543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4" Type="http://schemas.openxmlformats.org/officeDocument/2006/relationships/image" Target="../media/image8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4" Type="http://schemas.openxmlformats.org/officeDocument/2006/relationships/image" Target="../media/image8.sv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4" Type="http://schemas.openxmlformats.org/officeDocument/2006/relationships/image" Target="../media/image4.sv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4" Type="http://schemas.openxmlformats.org/officeDocument/2006/relationships/image" Target="../media/image4.sv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4" Type="http://schemas.openxmlformats.org/officeDocument/2006/relationships/image" Target="../media/image8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4.sv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4" Type="http://schemas.openxmlformats.org/officeDocument/2006/relationships/image" Target="../media/image8.sv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4" Type="http://schemas.openxmlformats.org/officeDocument/2006/relationships/image" Target="../media/image8.sv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4" Type="http://schemas.openxmlformats.org/officeDocument/2006/relationships/image" Target="../media/image8.sv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4" Type="http://schemas.openxmlformats.org/officeDocument/2006/relationships/image" Target="../media/image8.sv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4" Type="http://schemas.openxmlformats.org/officeDocument/2006/relationships/image" Target="../media/image8.sv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4" Type="http://schemas.openxmlformats.org/officeDocument/2006/relationships/image" Target="../media/image8.sv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4" Type="http://schemas.openxmlformats.org/officeDocument/2006/relationships/image" Target="../media/image8.sv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Relationship Id="rId6" Type="http://schemas.openxmlformats.org/officeDocument/2006/relationships/image" Target="../media/image8.svg"/><Relationship Id="rId5" Type="http://schemas.openxmlformats.org/officeDocument/2006/relationships/image" Target="../media/image2.png"/><Relationship Id="rId4" Type="http://schemas.openxmlformats.org/officeDocument/2006/relationships/image" Target="../media/image10.sv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svg"/><Relationship Id="rId4" Type="http://schemas.openxmlformats.org/officeDocument/2006/relationships/image" Target="../media/image5.pn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svg"/><Relationship Id="rId4" Type="http://schemas.openxmlformats.org/officeDocument/2006/relationships/image" Target="../media/image5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svg"/><Relationship Id="rId4" Type="http://schemas.openxmlformats.org/officeDocument/2006/relationships/image" Target="../media/image5.png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Relationship Id="rId4" Type="http://schemas.openxmlformats.org/officeDocument/2006/relationships/image" Target="../media/image8.svg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8.xml"/><Relationship Id="rId4" Type="http://schemas.openxmlformats.org/officeDocument/2006/relationships/image" Target="../media/image8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8.svg"/><Relationship Id="rId7" Type="http://schemas.openxmlformats.org/officeDocument/2006/relationships/image" Target="../media/image1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png"/><Relationship Id="rId5" Type="http://schemas.openxmlformats.org/officeDocument/2006/relationships/image" Target="../media/image15.svg"/><Relationship Id="rId10" Type="http://schemas.openxmlformats.org/officeDocument/2006/relationships/image" Target="../media/image8.png"/><Relationship Id="rId4" Type="http://schemas.openxmlformats.org/officeDocument/2006/relationships/image" Target="../media/image9.png"/><Relationship Id="rId9" Type="http://schemas.openxmlformats.org/officeDocument/2006/relationships/image" Target="../media/image19.svg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7.svg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7.svg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7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svg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7.svg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7.svg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8.svg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6.svg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6.svg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4.sv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9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0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2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3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7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8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9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0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1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2.xml"/><Relationship Id="rId4" Type="http://schemas.openxmlformats.org/officeDocument/2006/relationships/image" Target="../media/image8.svg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8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3.xml"/><Relationship Id="rId6" Type="http://schemas.openxmlformats.org/officeDocument/2006/relationships/image" Target="../media/image2.png"/><Relationship Id="rId5" Type="http://schemas.openxmlformats.org/officeDocument/2006/relationships/image" Target="../media/image10.svg"/><Relationship Id="rId4" Type="http://schemas.openxmlformats.org/officeDocument/2006/relationships/image" Target="../media/image5.png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8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svg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8.svg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svg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4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5.xml"/><Relationship Id="rId6" Type="http://schemas.openxmlformats.org/officeDocument/2006/relationships/image" Target="../media/image8.svg"/><Relationship Id="rId5" Type="http://schemas.openxmlformats.org/officeDocument/2006/relationships/image" Target="../media/image2.png"/><Relationship Id="rId4" Type="http://schemas.openxmlformats.org/officeDocument/2006/relationships/image" Target="../media/image7.png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6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7.xml"/></Relationships>
</file>

<file path=ppt/slideLayouts/_rels/slideLayout1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2.png"/><Relationship Id="rId7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5.svg"/><Relationship Id="rId5" Type="http://schemas.openxmlformats.org/officeDocument/2006/relationships/image" Target="../media/image9.png"/><Relationship Id="rId10" Type="http://schemas.openxmlformats.org/officeDocument/2006/relationships/image" Target="../media/image19.svg"/><Relationship Id="rId4" Type="http://schemas.openxmlformats.org/officeDocument/2006/relationships/image" Target="../media/image8.svg"/><Relationship Id="rId9" Type="http://schemas.openxmlformats.org/officeDocument/2006/relationships/image" Target="../media/image1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svg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7.svg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7.sv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7.svg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tiff"/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8.svg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4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4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4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4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4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4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4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4.svg"/><Relationship Id="rId5" Type="http://schemas.openxmlformats.org/officeDocument/2006/relationships/image" Target="../media/image2.png"/><Relationship Id="rId4" Type="http://schemas.openxmlformats.org/officeDocument/2006/relationships/image" Target="../media/image10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5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5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5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4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4.sv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2.png"/><Relationship Id="rId7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svg"/><Relationship Id="rId5" Type="http://schemas.openxmlformats.org/officeDocument/2006/relationships/image" Target="../media/image9.png"/><Relationship Id="rId10" Type="http://schemas.openxmlformats.org/officeDocument/2006/relationships/image" Target="../media/image19.svg"/><Relationship Id="rId4" Type="http://schemas.openxmlformats.org/officeDocument/2006/relationships/image" Target="../media/image4.svg"/><Relationship Id="rId9" Type="http://schemas.openxmlformats.org/officeDocument/2006/relationships/image" Target="../media/image11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sv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8.svg"/><Relationship Id="rId4" Type="http://schemas.openxmlformats.org/officeDocument/2006/relationships/image" Target="../media/image2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4.sv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2.png"/><Relationship Id="rId5" Type="http://schemas.openxmlformats.org/officeDocument/2006/relationships/image" Target="../media/image10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4.sv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4.sv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4.svg"/><Relationship Id="rId5" Type="http://schemas.openxmlformats.org/officeDocument/2006/relationships/image" Target="../media/image2.png"/><Relationship Id="rId4" Type="http://schemas.openxmlformats.org/officeDocument/2006/relationships/image" Target="../media/image7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2.png"/><Relationship Id="rId7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svg"/><Relationship Id="rId5" Type="http://schemas.openxmlformats.org/officeDocument/2006/relationships/image" Target="../media/image9.png"/><Relationship Id="rId10" Type="http://schemas.openxmlformats.org/officeDocument/2006/relationships/image" Target="../media/image19.svg"/><Relationship Id="rId4" Type="http://schemas.openxmlformats.org/officeDocument/2006/relationships/image" Target="../media/image4.svg"/><Relationship Id="rId9" Type="http://schemas.openxmlformats.org/officeDocument/2006/relationships/image" Target="../media/image11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199" y="3281163"/>
            <a:ext cx="6397626" cy="1218593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98" y="1233488"/>
            <a:ext cx="6443999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3385E9-575A-4E97-BE38-0A19A73B40A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18DAEFC-EF40-4589-9F6B-5C1699274A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00000"/>
            <a:ext cx="6443998" cy="99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4829D4-90BA-4FD9-8D4C-686E86FB239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800" y="6480000"/>
            <a:ext cx="2396518" cy="123111"/>
          </a:xfrm>
        </p:spPr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2" name="Freeform: Shape 38">
            <a:extLst>
              <a:ext uri="{FF2B5EF4-FFF2-40B4-BE49-F238E27FC236}">
                <a16:creationId xmlns:a16="http://schemas.microsoft.com/office/drawing/2014/main" id="{BF4677C3-BCF5-4855-9611-E85C96D9A70A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2D55CCF4-0B1D-4A3B-AD75-0E7051248497}"/>
              </a:ext>
            </a:extLst>
          </p:cNvPr>
          <p:cNvSpPr/>
          <p:nvPr userDrawn="1"/>
        </p:nvSpPr>
        <p:spPr>
          <a:xfrm>
            <a:off x="10121759" y="2893156"/>
            <a:ext cx="2070240" cy="2020997"/>
          </a:xfrm>
          <a:custGeom>
            <a:avLst/>
            <a:gdLst>
              <a:gd name="connsiteX0" fmla="*/ 803684 w 2070240"/>
              <a:gd name="connsiteY0" fmla="*/ 0 h 2020997"/>
              <a:gd name="connsiteX1" fmla="*/ 2069497 w 2070240"/>
              <a:gd name="connsiteY1" fmla="*/ 889314 h 2020997"/>
              <a:gd name="connsiteX2" fmla="*/ 2069597 w 2070240"/>
              <a:gd name="connsiteY2" fmla="*/ 713297 h 2020997"/>
              <a:gd name="connsiteX3" fmla="*/ 2070240 w 2070240"/>
              <a:gd name="connsiteY3" fmla="*/ 713739 h 2020997"/>
              <a:gd name="connsiteX4" fmla="*/ 2069497 w 2070240"/>
              <a:gd name="connsiteY4" fmla="*/ 2020997 h 2020997"/>
              <a:gd name="connsiteX5" fmla="*/ 0 w 2070240"/>
              <a:gd name="connsiteY5" fmla="*/ 567044 h 202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0240" h="2020997">
                <a:moveTo>
                  <a:pt x="803684" y="0"/>
                </a:moveTo>
                <a:lnTo>
                  <a:pt x="2069497" y="889314"/>
                </a:lnTo>
                <a:lnTo>
                  <a:pt x="2069597" y="713297"/>
                </a:lnTo>
                <a:lnTo>
                  <a:pt x="2070240" y="713739"/>
                </a:lnTo>
                <a:lnTo>
                  <a:pt x="2069497" y="2020997"/>
                </a:lnTo>
                <a:lnTo>
                  <a:pt x="0" y="567044"/>
                </a:lnTo>
                <a:close/>
              </a:path>
            </a:pathLst>
          </a:custGeom>
          <a:gradFill>
            <a:gsLst>
              <a:gs pos="21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26100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24">
            <a:extLst>
              <a:ext uri="{FF2B5EF4-FFF2-40B4-BE49-F238E27FC236}">
                <a16:creationId xmlns:a16="http://schemas.microsoft.com/office/drawing/2014/main" id="{5B049D90-7C0C-2543-A4A6-22DE2C411CA6}"/>
              </a:ext>
            </a:extLst>
          </p:cNvPr>
          <p:cNvSpPr/>
          <p:nvPr/>
        </p:nvSpPr>
        <p:spPr>
          <a:xfrm>
            <a:off x="0" y="4900507"/>
            <a:ext cx="4262572" cy="1957493"/>
          </a:xfrm>
          <a:custGeom>
            <a:avLst/>
            <a:gdLst>
              <a:gd name="connsiteX0" fmla="*/ 1462275 w 4262572"/>
              <a:gd name="connsiteY0" fmla="*/ 0 h 1957493"/>
              <a:gd name="connsiteX1" fmla="*/ 4262572 w 4262572"/>
              <a:gd name="connsiteY1" fmla="*/ 1957493 h 1957493"/>
              <a:gd name="connsiteX2" fmla="*/ 0 w 4262572"/>
              <a:gd name="connsiteY2" fmla="*/ 1957493 h 1957493"/>
              <a:gd name="connsiteX3" fmla="*/ 0 w 4262572"/>
              <a:gd name="connsiteY3" fmla="*/ 1021999 h 1957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62572" h="1957493">
                <a:moveTo>
                  <a:pt x="1462275" y="0"/>
                </a:moveTo>
                <a:lnTo>
                  <a:pt x="4262572" y="1957493"/>
                </a:lnTo>
                <a:lnTo>
                  <a:pt x="0" y="1957493"/>
                </a:lnTo>
                <a:lnTo>
                  <a:pt x="0" y="1021999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31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929773AE-3026-4994-9E24-119377549C30}"/>
              </a:ext>
            </a:extLst>
          </p:cNvPr>
          <p:cNvSpPr/>
          <p:nvPr/>
        </p:nvSpPr>
        <p:spPr>
          <a:xfrm>
            <a:off x="1739901" y="5448182"/>
            <a:ext cx="4065894" cy="1412994"/>
          </a:xfrm>
          <a:custGeom>
            <a:avLst/>
            <a:gdLst>
              <a:gd name="connsiteX0" fmla="*/ 0 w 4467225"/>
              <a:gd name="connsiteY0" fmla="*/ 1533525 h 1562100"/>
              <a:gd name="connsiteX1" fmla="*/ 2228850 w 4467225"/>
              <a:gd name="connsiteY1" fmla="*/ 0 h 1562100"/>
              <a:gd name="connsiteX2" fmla="*/ 4467225 w 4467225"/>
              <a:gd name="connsiteY2" fmla="*/ 1562100 h 1562100"/>
              <a:gd name="connsiteX3" fmla="*/ 0 w 4467225"/>
              <a:gd name="connsiteY3" fmla="*/ 1533525 h 1562100"/>
              <a:gd name="connsiteX0" fmla="*/ 0 w 4505325"/>
              <a:gd name="connsiteY0" fmla="*/ 1552575 h 1562100"/>
              <a:gd name="connsiteX1" fmla="*/ 2266950 w 4505325"/>
              <a:gd name="connsiteY1" fmla="*/ 0 h 1562100"/>
              <a:gd name="connsiteX2" fmla="*/ 4505325 w 4505325"/>
              <a:gd name="connsiteY2" fmla="*/ 1562100 h 1562100"/>
              <a:gd name="connsiteX3" fmla="*/ 0 w 4505325"/>
              <a:gd name="connsiteY3" fmla="*/ 1552575 h 1562100"/>
              <a:gd name="connsiteX0" fmla="*/ 0 w 4514850"/>
              <a:gd name="connsiteY0" fmla="*/ 1562100 h 1562100"/>
              <a:gd name="connsiteX1" fmla="*/ 2276475 w 4514850"/>
              <a:gd name="connsiteY1" fmla="*/ 0 h 1562100"/>
              <a:gd name="connsiteX2" fmla="*/ 4514850 w 4514850"/>
              <a:gd name="connsiteY2" fmla="*/ 1562100 h 1562100"/>
              <a:gd name="connsiteX3" fmla="*/ 0 w 4514850"/>
              <a:gd name="connsiteY3" fmla="*/ 1562100 h 1562100"/>
              <a:gd name="connsiteX0" fmla="*/ 0 w 4514850"/>
              <a:gd name="connsiteY0" fmla="*/ 1410144 h 1410144"/>
              <a:gd name="connsiteX1" fmla="*/ 2265873 w 4514850"/>
              <a:gd name="connsiteY1" fmla="*/ 0 h 1410144"/>
              <a:gd name="connsiteX2" fmla="*/ 4514850 w 4514850"/>
              <a:gd name="connsiteY2" fmla="*/ 1410144 h 1410144"/>
              <a:gd name="connsiteX3" fmla="*/ 0 w 4514850"/>
              <a:gd name="connsiteY3" fmla="*/ 1410144 h 1410144"/>
              <a:gd name="connsiteX0" fmla="*/ 0 w 4514850"/>
              <a:gd name="connsiteY0" fmla="*/ 1569168 h 1569168"/>
              <a:gd name="connsiteX1" fmla="*/ 2265873 w 4514850"/>
              <a:gd name="connsiteY1" fmla="*/ 0 h 1569168"/>
              <a:gd name="connsiteX2" fmla="*/ 4514850 w 4514850"/>
              <a:gd name="connsiteY2" fmla="*/ 1569168 h 1569168"/>
              <a:gd name="connsiteX3" fmla="*/ 0 w 4514850"/>
              <a:gd name="connsiteY3" fmla="*/ 1569168 h 1569168"/>
              <a:gd name="connsiteX0" fmla="*/ 0 w 4525452"/>
              <a:gd name="connsiteY0" fmla="*/ 1569168 h 1572702"/>
              <a:gd name="connsiteX1" fmla="*/ 2265873 w 4525452"/>
              <a:gd name="connsiteY1" fmla="*/ 0 h 1572702"/>
              <a:gd name="connsiteX2" fmla="*/ 4525452 w 4525452"/>
              <a:gd name="connsiteY2" fmla="*/ 1572702 h 1572702"/>
              <a:gd name="connsiteX3" fmla="*/ 0 w 4525452"/>
              <a:gd name="connsiteY3" fmla="*/ 1569168 h 1572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25452" h="1572702">
                <a:moveTo>
                  <a:pt x="0" y="1569168"/>
                </a:moveTo>
                <a:lnTo>
                  <a:pt x="2265873" y="0"/>
                </a:lnTo>
                <a:lnTo>
                  <a:pt x="4525452" y="1572702"/>
                </a:lnTo>
                <a:lnTo>
                  <a:pt x="0" y="1569168"/>
                </a:lnTo>
                <a:close/>
              </a:path>
            </a:pathLst>
          </a:custGeom>
          <a:gradFill flip="none" rotWithShape="1">
            <a:gsLst>
              <a:gs pos="79000">
                <a:schemeClr val="accent1"/>
              </a:gs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21594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1998EB54-0F58-441A-8144-1161535363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4257" y="3702319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BE0095B5-53D4-9C4C-8876-BE836797DEE0}"/>
              </a:ext>
            </a:extLst>
          </p:cNvPr>
          <p:cNvSpPr/>
          <p:nvPr/>
        </p:nvSpPr>
        <p:spPr>
          <a:xfrm rot="10800000">
            <a:off x="9083364" y="0"/>
            <a:ext cx="3108635" cy="1425182"/>
          </a:xfrm>
          <a:custGeom>
            <a:avLst/>
            <a:gdLst>
              <a:gd name="connsiteX0" fmla="*/ 3108635 w 3108635"/>
              <a:gd name="connsiteY0" fmla="*/ 1425182 h 1425182"/>
              <a:gd name="connsiteX1" fmla="*/ 0 w 3108635"/>
              <a:gd name="connsiteY1" fmla="*/ 1425182 h 1425182"/>
              <a:gd name="connsiteX2" fmla="*/ 0 w 3108635"/>
              <a:gd name="connsiteY2" fmla="*/ 730957 h 1425182"/>
              <a:gd name="connsiteX3" fmla="*/ 1084862 w 3108635"/>
              <a:gd name="connsiteY3" fmla="*/ 0 h 142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08635" h="1425182">
                <a:moveTo>
                  <a:pt x="3108635" y="1425182"/>
                </a:moveTo>
                <a:lnTo>
                  <a:pt x="0" y="1425182"/>
                </a:lnTo>
                <a:lnTo>
                  <a:pt x="0" y="730957"/>
                </a:lnTo>
                <a:lnTo>
                  <a:pt x="1084862" y="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31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B5DEA3EB-7023-3642-83F2-FD716952AC57}"/>
              </a:ext>
            </a:extLst>
          </p:cNvPr>
          <p:cNvSpPr/>
          <p:nvPr/>
        </p:nvSpPr>
        <p:spPr>
          <a:xfrm rot="10800000">
            <a:off x="7899082" y="-1"/>
            <a:ext cx="2943008" cy="1021432"/>
          </a:xfrm>
          <a:custGeom>
            <a:avLst/>
            <a:gdLst>
              <a:gd name="connsiteX0" fmla="*/ 2943008 w 2943008"/>
              <a:gd name="connsiteY0" fmla="*/ 1021432 h 1021432"/>
              <a:gd name="connsiteX1" fmla="*/ 0 w 2943008"/>
              <a:gd name="connsiteY1" fmla="*/ 1021432 h 1021432"/>
              <a:gd name="connsiteX2" fmla="*/ 1473230 w 2943008"/>
              <a:gd name="connsiteY2" fmla="*/ 0 h 102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43008" h="1021432">
                <a:moveTo>
                  <a:pt x="2943008" y="1021432"/>
                </a:moveTo>
                <a:lnTo>
                  <a:pt x="0" y="1021432"/>
                </a:lnTo>
                <a:lnTo>
                  <a:pt x="1473230" y="0"/>
                </a:lnTo>
                <a:close/>
              </a:path>
            </a:pathLst>
          </a:custGeom>
          <a:gradFill flip="none" rotWithShape="1">
            <a:gsLst>
              <a:gs pos="79000">
                <a:schemeClr val="accent1"/>
              </a:gs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21594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>
              <a:solidFill>
                <a:schemeClr val="tx2"/>
              </a:solidFill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26A78AB9-EAF7-7746-895A-843233C622E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612FCD5A-D75B-4B19-A0CD-3722DB639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401252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tx2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5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58EE7C1-72A7-49D2-9408-6D8A3E8979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E8E6F93-A670-4F14-B015-78190A57D001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9875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022_Title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ght Triangle 8">
            <a:extLst>
              <a:ext uri="{FF2B5EF4-FFF2-40B4-BE49-F238E27FC236}">
                <a16:creationId xmlns:a16="http://schemas.microsoft.com/office/drawing/2014/main" id="{52F038EE-63DB-4468-A7FF-D4C488C62278}"/>
              </a:ext>
            </a:extLst>
          </p:cNvPr>
          <p:cNvSpPr/>
          <p:nvPr userDrawn="1"/>
        </p:nvSpPr>
        <p:spPr>
          <a:xfrm rot="16200000">
            <a:off x="9386887" y="4069666"/>
            <a:ext cx="2805111" cy="2805111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0C92DC8-8F9B-FD4C-A423-93681EAA05B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4357" y="1202822"/>
            <a:ext cx="8127643" cy="5655179"/>
          </a:xfrm>
          <a:custGeom>
            <a:avLst/>
            <a:gdLst>
              <a:gd name="connsiteX0" fmla="*/ 8127643 w 8127643"/>
              <a:gd name="connsiteY0" fmla="*/ 0 h 5655179"/>
              <a:gd name="connsiteX1" fmla="*/ 8127643 w 8127643"/>
              <a:gd name="connsiteY1" fmla="*/ 4020543 h 5655179"/>
              <a:gd name="connsiteX2" fmla="*/ 5775413 w 8127643"/>
              <a:gd name="connsiteY2" fmla="*/ 5655179 h 5655179"/>
              <a:gd name="connsiteX3" fmla="*/ 0 w 8127643"/>
              <a:gd name="connsiteY3" fmla="*/ 5655179 h 5655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27643" h="5655179">
                <a:moveTo>
                  <a:pt x="8127643" y="0"/>
                </a:moveTo>
                <a:lnTo>
                  <a:pt x="8127643" y="4020543"/>
                </a:lnTo>
                <a:lnTo>
                  <a:pt x="5775413" y="5655179"/>
                </a:lnTo>
                <a:lnTo>
                  <a:pt x="0" y="565517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2376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lang="en-GB" sz="18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  <a:p>
            <a:pPr marL="0" lvl="0" indent="0" algn="ctr">
              <a:buFont typeface="Arial" panose="020B0604020202020204" pitchFamily="34" charset="0"/>
              <a:buNone/>
            </a:pPr>
            <a:endParaRPr lang="en-GB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0324D3F-C030-485A-A8C3-01CA627A791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873B3ECE-66FA-8F4A-9BA4-70589FB28FA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199" y="3281163"/>
            <a:ext cx="6397626" cy="1218593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36A979B9-FB94-CB41-BC9E-B6C559E0F5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7197" y="1233488"/>
            <a:ext cx="6443999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D50170-9A03-4DF0-ADB1-B9E0F3635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00000"/>
            <a:ext cx="6443998" cy="990001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3E106C1-E5A4-4F33-AEF9-E4AE65A838B4}"/>
              </a:ext>
            </a:extLst>
          </p:cNvPr>
          <p:cNvSpPr/>
          <p:nvPr userDrawn="1"/>
        </p:nvSpPr>
        <p:spPr>
          <a:xfrm rot="17391976" flipH="1">
            <a:off x="9337917" y="4563796"/>
            <a:ext cx="3055372" cy="2597595"/>
          </a:xfrm>
          <a:custGeom>
            <a:avLst/>
            <a:gdLst>
              <a:gd name="connsiteX0" fmla="*/ 0 w 4662314"/>
              <a:gd name="connsiteY0" fmla="*/ 3205489 h 3391128"/>
              <a:gd name="connsiteX1" fmla="*/ 513768 w 4662314"/>
              <a:gd name="connsiteY1" fmla="*/ 3391128 h 3391128"/>
              <a:gd name="connsiteX2" fmla="*/ 4662314 w 4662314"/>
              <a:gd name="connsiteY2" fmla="*/ 452233 h 3391128"/>
              <a:gd name="connsiteX3" fmla="*/ 4542036 w 4662314"/>
              <a:gd name="connsiteY3" fmla="*/ 0 h 3391128"/>
              <a:gd name="connsiteX0" fmla="*/ 0 w 4662314"/>
              <a:gd name="connsiteY0" fmla="*/ 3205489 h 3683558"/>
              <a:gd name="connsiteX1" fmla="*/ 1543623 w 4662314"/>
              <a:gd name="connsiteY1" fmla="*/ 3683558 h 3683558"/>
              <a:gd name="connsiteX2" fmla="*/ 4662314 w 4662314"/>
              <a:gd name="connsiteY2" fmla="*/ 452233 h 3683558"/>
              <a:gd name="connsiteX3" fmla="*/ 4542036 w 4662314"/>
              <a:gd name="connsiteY3" fmla="*/ 0 h 3683558"/>
              <a:gd name="connsiteX4" fmla="*/ 0 w 4662314"/>
              <a:gd name="connsiteY4" fmla="*/ 3205489 h 3683558"/>
              <a:gd name="connsiteX0" fmla="*/ 0 w 4662314"/>
              <a:gd name="connsiteY0" fmla="*/ 3205489 h 3744923"/>
              <a:gd name="connsiteX1" fmla="*/ 1586816 w 4662314"/>
              <a:gd name="connsiteY1" fmla="*/ 3744922 h 3744923"/>
              <a:gd name="connsiteX2" fmla="*/ 4662314 w 4662314"/>
              <a:gd name="connsiteY2" fmla="*/ 452233 h 3744923"/>
              <a:gd name="connsiteX3" fmla="*/ 4542036 w 4662314"/>
              <a:gd name="connsiteY3" fmla="*/ 0 h 3744923"/>
              <a:gd name="connsiteX4" fmla="*/ 0 w 4662314"/>
              <a:gd name="connsiteY4" fmla="*/ 3205489 h 3744923"/>
              <a:gd name="connsiteX0" fmla="*/ 0 w 4542036"/>
              <a:gd name="connsiteY0" fmla="*/ 3205489 h 3744922"/>
              <a:gd name="connsiteX1" fmla="*/ 1586816 w 4542036"/>
              <a:gd name="connsiteY1" fmla="*/ 3744922 h 3744922"/>
              <a:gd name="connsiteX2" fmla="*/ 3838762 w 4542036"/>
              <a:gd name="connsiteY2" fmla="*/ 2176681 h 3744922"/>
              <a:gd name="connsiteX3" fmla="*/ 4542036 w 4542036"/>
              <a:gd name="connsiteY3" fmla="*/ 0 h 3744922"/>
              <a:gd name="connsiteX4" fmla="*/ 0 w 4542036"/>
              <a:gd name="connsiteY4" fmla="*/ 3205489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838114 w 4541388"/>
              <a:gd name="connsiteY2" fmla="*/ 2176681 h 3744922"/>
              <a:gd name="connsiteX3" fmla="*/ 4541388 w 4541388"/>
              <a:gd name="connsiteY3" fmla="*/ 0 h 3744922"/>
              <a:gd name="connsiteX4" fmla="*/ 0 w 4541388"/>
              <a:gd name="connsiteY4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3838114 w 4541388"/>
              <a:gd name="connsiteY3" fmla="*/ 2176681 h 3744922"/>
              <a:gd name="connsiteX4" fmla="*/ 4541388 w 4541388"/>
              <a:gd name="connsiteY4" fmla="*/ 0 h 3744922"/>
              <a:gd name="connsiteX5" fmla="*/ 0 w 4541388"/>
              <a:gd name="connsiteY5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3838114 w 4541388"/>
              <a:gd name="connsiteY3" fmla="*/ 2176681 h 3744922"/>
              <a:gd name="connsiteX4" fmla="*/ 4541388 w 4541388"/>
              <a:gd name="connsiteY4" fmla="*/ 0 h 3744922"/>
              <a:gd name="connsiteX5" fmla="*/ 3906986 w 4541388"/>
              <a:gd name="connsiteY5" fmla="*/ 418650 h 3744922"/>
              <a:gd name="connsiteX6" fmla="*/ 0 w 4541388"/>
              <a:gd name="connsiteY6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4541388 w 4541388"/>
              <a:gd name="connsiteY3" fmla="*/ 0 h 3744922"/>
              <a:gd name="connsiteX4" fmla="*/ 3906986 w 4541388"/>
              <a:gd name="connsiteY4" fmla="*/ 418650 h 3744922"/>
              <a:gd name="connsiteX5" fmla="*/ 0 w 4541388"/>
              <a:gd name="connsiteY5" fmla="*/ 3179576 h 3744922"/>
              <a:gd name="connsiteX0" fmla="*/ 0 w 3906986"/>
              <a:gd name="connsiteY0" fmla="*/ 2760926 h 3326272"/>
              <a:gd name="connsiteX1" fmla="*/ 1586168 w 3906986"/>
              <a:gd name="connsiteY1" fmla="*/ 3326272 h 3326272"/>
              <a:gd name="connsiteX2" fmla="*/ 3117387 w 3906986"/>
              <a:gd name="connsiteY2" fmla="*/ 2233505 h 3326272"/>
              <a:gd name="connsiteX3" fmla="*/ 3906986 w 3906986"/>
              <a:gd name="connsiteY3" fmla="*/ 0 h 3326272"/>
              <a:gd name="connsiteX4" fmla="*/ 0 w 3906986"/>
              <a:gd name="connsiteY4" fmla="*/ 2760926 h 3326272"/>
              <a:gd name="connsiteX0" fmla="*/ 0 w 3944041"/>
              <a:gd name="connsiteY0" fmla="*/ 2791114 h 3356460"/>
              <a:gd name="connsiteX1" fmla="*/ 1586168 w 3944041"/>
              <a:gd name="connsiteY1" fmla="*/ 3356460 h 3356460"/>
              <a:gd name="connsiteX2" fmla="*/ 3117387 w 3944041"/>
              <a:gd name="connsiteY2" fmla="*/ 2263693 h 3356460"/>
              <a:gd name="connsiteX3" fmla="*/ 3944041 w 3944041"/>
              <a:gd name="connsiteY3" fmla="*/ 0 h 3356460"/>
              <a:gd name="connsiteX4" fmla="*/ 0 w 3944041"/>
              <a:gd name="connsiteY4" fmla="*/ 2791114 h 3356460"/>
              <a:gd name="connsiteX0" fmla="*/ 0 w 3944041"/>
              <a:gd name="connsiteY0" fmla="*/ 2791114 h 3353118"/>
              <a:gd name="connsiteX1" fmla="*/ 1576917 w 3944041"/>
              <a:gd name="connsiteY1" fmla="*/ 3353118 h 3353118"/>
              <a:gd name="connsiteX2" fmla="*/ 3117387 w 3944041"/>
              <a:gd name="connsiteY2" fmla="*/ 2263693 h 3353118"/>
              <a:gd name="connsiteX3" fmla="*/ 3944041 w 3944041"/>
              <a:gd name="connsiteY3" fmla="*/ 0 h 3353118"/>
              <a:gd name="connsiteX4" fmla="*/ 0 w 3944041"/>
              <a:gd name="connsiteY4" fmla="*/ 2791114 h 3353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4041" h="3353118">
                <a:moveTo>
                  <a:pt x="0" y="2791114"/>
                </a:moveTo>
                <a:lnTo>
                  <a:pt x="1576917" y="3353118"/>
                </a:lnTo>
                <a:lnTo>
                  <a:pt x="3117387" y="2263693"/>
                </a:lnTo>
                <a:lnTo>
                  <a:pt x="3944041" y="0"/>
                </a:lnTo>
                <a:lnTo>
                  <a:pt x="0" y="2791114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3666787-C34F-4060-9C0B-3567CC8D732A}"/>
              </a:ext>
            </a:extLst>
          </p:cNvPr>
          <p:cNvSpPr/>
          <p:nvPr userDrawn="1"/>
        </p:nvSpPr>
        <p:spPr>
          <a:xfrm rot="3299037">
            <a:off x="4967294" y="3363337"/>
            <a:ext cx="1106312" cy="5035605"/>
          </a:xfrm>
          <a:custGeom>
            <a:avLst/>
            <a:gdLst>
              <a:gd name="connsiteX0" fmla="*/ 0 w 1208279"/>
              <a:gd name="connsiteY0" fmla="*/ 444052 h 5841369"/>
              <a:gd name="connsiteX1" fmla="*/ 1208279 w 1208279"/>
              <a:gd name="connsiteY1" fmla="*/ 0 h 5841369"/>
              <a:gd name="connsiteX2" fmla="*/ 1208279 w 1208279"/>
              <a:gd name="connsiteY2" fmla="*/ 4116796 h 5841369"/>
              <a:gd name="connsiteX3" fmla="*/ 0 w 1208279"/>
              <a:gd name="connsiteY3" fmla="*/ 5841369 h 5841369"/>
              <a:gd name="connsiteX0" fmla="*/ 12488 w 1208279"/>
              <a:gd name="connsiteY0" fmla="*/ 290096 h 5841369"/>
              <a:gd name="connsiteX1" fmla="*/ 1208279 w 1208279"/>
              <a:gd name="connsiteY1" fmla="*/ 0 h 5841369"/>
              <a:gd name="connsiteX2" fmla="*/ 1208279 w 1208279"/>
              <a:gd name="connsiteY2" fmla="*/ 4116796 h 5841369"/>
              <a:gd name="connsiteX3" fmla="*/ 0 w 1208279"/>
              <a:gd name="connsiteY3" fmla="*/ 5841369 h 5841369"/>
              <a:gd name="connsiteX4" fmla="*/ 12488 w 1208279"/>
              <a:gd name="connsiteY4" fmla="*/ 290096 h 5841369"/>
              <a:gd name="connsiteX0" fmla="*/ 12488 w 1208279"/>
              <a:gd name="connsiteY0" fmla="*/ 386502 h 5937775"/>
              <a:gd name="connsiteX1" fmla="*/ 1118728 w 1208279"/>
              <a:gd name="connsiteY1" fmla="*/ 0 h 5937775"/>
              <a:gd name="connsiteX2" fmla="*/ 1208279 w 1208279"/>
              <a:gd name="connsiteY2" fmla="*/ 4213202 h 5937775"/>
              <a:gd name="connsiteX3" fmla="*/ 0 w 1208279"/>
              <a:gd name="connsiteY3" fmla="*/ 5937775 h 5937775"/>
              <a:gd name="connsiteX4" fmla="*/ 12488 w 1208279"/>
              <a:gd name="connsiteY4" fmla="*/ 386502 h 5937775"/>
              <a:gd name="connsiteX0" fmla="*/ 12488 w 1118728"/>
              <a:gd name="connsiteY0" fmla="*/ 386502 h 5937775"/>
              <a:gd name="connsiteX1" fmla="*/ 1118728 w 1118728"/>
              <a:gd name="connsiteY1" fmla="*/ 0 h 5937775"/>
              <a:gd name="connsiteX2" fmla="*/ 1098667 w 1118728"/>
              <a:gd name="connsiteY2" fmla="*/ 4377658 h 5937775"/>
              <a:gd name="connsiteX3" fmla="*/ 0 w 1118728"/>
              <a:gd name="connsiteY3" fmla="*/ 5937775 h 5937775"/>
              <a:gd name="connsiteX4" fmla="*/ 12488 w 1118728"/>
              <a:gd name="connsiteY4" fmla="*/ 386502 h 5937775"/>
              <a:gd name="connsiteX0" fmla="*/ 286229 w 1392469"/>
              <a:gd name="connsiteY0" fmla="*/ 386502 h 6395953"/>
              <a:gd name="connsiteX1" fmla="*/ 1392469 w 1392469"/>
              <a:gd name="connsiteY1" fmla="*/ 0 h 6395953"/>
              <a:gd name="connsiteX2" fmla="*/ 1372408 w 1392469"/>
              <a:gd name="connsiteY2" fmla="*/ 4377658 h 6395953"/>
              <a:gd name="connsiteX3" fmla="*/ 0 w 1392469"/>
              <a:gd name="connsiteY3" fmla="*/ 6395953 h 6395953"/>
              <a:gd name="connsiteX4" fmla="*/ 286229 w 1392469"/>
              <a:gd name="connsiteY4" fmla="*/ 386502 h 6395953"/>
              <a:gd name="connsiteX0" fmla="*/ 0 w 1405178"/>
              <a:gd name="connsiteY0" fmla="*/ 425228 h 6395953"/>
              <a:gd name="connsiteX1" fmla="*/ 1405178 w 1405178"/>
              <a:gd name="connsiteY1" fmla="*/ 0 h 6395953"/>
              <a:gd name="connsiteX2" fmla="*/ 1385117 w 1405178"/>
              <a:gd name="connsiteY2" fmla="*/ 4377658 h 6395953"/>
              <a:gd name="connsiteX3" fmla="*/ 12709 w 1405178"/>
              <a:gd name="connsiteY3" fmla="*/ 6395953 h 6395953"/>
              <a:gd name="connsiteX4" fmla="*/ 0 w 1405178"/>
              <a:gd name="connsiteY4" fmla="*/ 425228 h 6395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5178" h="6395953">
                <a:moveTo>
                  <a:pt x="0" y="425228"/>
                </a:moveTo>
                <a:lnTo>
                  <a:pt x="1405178" y="0"/>
                </a:lnTo>
                <a:lnTo>
                  <a:pt x="1385117" y="4377658"/>
                </a:lnTo>
                <a:cubicBezTo>
                  <a:pt x="1018895" y="4897697"/>
                  <a:pt x="378931" y="5875914"/>
                  <a:pt x="12709" y="6395953"/>
                </a:cubicBezTo>
                <a:cubicBezTo>
                  <a:pt x="12709" y="4596847"/>
                  <a:pt x="0" y="2224334"/>
                  <a:pt x="0" y="425228"/>
                </a:cubicBez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10596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022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0AF48DA9-E99B-4AAD-8AED-1F315BB61CAB}"/>
              </a:ext>
            </a:extLst>
          </p:cNvPr>
          <p:cNvSpPr/>
          <p:nvPr userDrawn="1"/>
        </p:nvSpPr>
        <p:spPr>
          <a:xfrm rot="5400000">
            <a:off x="0" y="1"/>
            <a:ext cx="3815466" cy="3815466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7132858-3690-C942-AE55-74072A035C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"/>
            <a:ext cx="5711211" cy="6857999"/>
          </a:xfrm>
          <a:custGeom>
            <a:avLst/>
            <a:gdLst>
              <a:gd name="connsiteX0" fmla="*/ 3888681 w 5711211"/>
              <a:gd name="connsiteY0" fmla="*/ 0 h 6857999"/>
              <a:gd name="connsiteX1" fmla="*/ 5711211 w 5711211"/>
              <a:gd name="connsiteY1" fmla="*/ 0 h 6857999"/>
              <a:gd name="connsiteX2" fmla="*/ 5711211 w 5711211"/>
              <a:gd name="connsiteY2" fmla="*/ 4103993 h 6857999"/>
              <a:gd name="connsiteX3" fmla="*/ 1739709 w 5711211"/>
              <a:gd name="connsiteY3" fmla="*/ 6857999 h 6857999"/>
              <a:gd name="connsiteX4" fmla="*/ 0 w 5711211"/>
              <a:gd name="connsiteY4" fmla="*/ 6857999 h 6857999"/>
              <a:gd name="connsiteX5" fmla="*/ 0 w 5711211"/>
              <a:gd name="connsiteY5" fmla="*/ 2714106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11211" h="6857999">
                <a:moveTo>
                  <a:pt x="3888681" y="0"/>
                </a:moveTo>
                <a:lnTo>
                  <a:pt x="5711211" y="0"/>
                </a:lnTo>
                <a:lnTo>
                  <a:pt x="5711211" y="4103993"/>
                </a:lnTo>
                <a:lnTo>
                  <a:pt x="1739709" y="6857999"/>
                </a:lnTo>
                <a:lnTo>
                  <a:pt x="0" y="6857999"/>
                </a:lnTo>
                <a:lnTo>
                  <a:pt x="0" y="2714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2414" y="2259127"/>
            <a:ext cx="4004633" cy="3810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Subtitle goes here</a:t>
            </a:r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2D878DF-45CE-48C4-ADBA-897AA41158B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F0A4E75-D008-4A3D-9E2B-EFA56AA2C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2415" y="3100375"/>
            <a:ext cx="4004632" cy="99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850966A-A907-44E5-AD4A-B2C25296B1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42415" y="4550622"/>
            <a:ext cx="4004632" cy="581046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5" name="Freeform: Shape 38">
            <a:extLst>
              <a:ext uri="{FF2B5EF4-FFF2-40B4-BE49-F238E27FC236}">
                <a16:creationId xmlns:a16="http://schemas.microsoft.com/office/drawing/2014/main" id="{CF0C42AB-56AB-4CD9-BC29-E642601C21CA}"/>
              </a:ext>
            </a:extLst>
          </p:cNvPr>
          <p:cNvSpPr/>
          <p:nvPr userDrawn="1"/>
        </p:nvSpPr>
        <p:spPr>
          <a:xfrm>
            <a:off x="1173742" y="4827938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Freeform: Shape 38">
            <a:extLst>
              <a:ext uri="{FF2B5EF4-FFF2-40B4-BE49-F238E27FC236}">
                <a16:creationId xmlns:a16="http://schemas.microsoft.com/office/drawing/2014/main" id="{64FAF79B-779C-47A3-89F1-134187E543EF}"/>
              </a:ext>
            </a:extLst>
          </p:cNvPr>
          <p:cNvSpPr/>
          <p:nvPr userDrawn="1"/>
        </p:nvSpPr>
        <p:spPr>
          <a:xfrm rot="10800000">
            <a:off x="137450" y="1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0"/>
                </a:schemeClr>
              </a:gs>
              <a:gs pos="74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D96DC3D-7488-477F-B5D0-C4E18D0F845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9325244" y="6480000"/>
            <a:ext cx="2396518" cy="123111"/>
          </a:xfrm>
          <a:prstGeom prst="rect">
            <a:avLst/>
          </a:prstGeom>
        </p:spPr>
        <p:txBody>
          <a:bodyPr/>
          <a:lstStyle/>
          <a:p>
            <a:pPr algn="r"/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92316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22_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A67C8A7-566E-6245-9CD3-9765B4FA66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2800" y="1366979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24EB0EA-8635-6443-A050-B3327AB273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5360" y="1392819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1D83DD92-09D1-EE43-BC80-83A0DE3D952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FBCBEE40-2AEA-476A-BD9F-C1BB81200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417059"/>
            <a:ext cx="5049102" cy="57044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Agenda</a:t>
            </a:r>
            <a:endParaRPr lang="en-GB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BBB72AD8-123F-41E4-AA6D-10D40E0974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2800" y="2146908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6CA4F9AE-634E-4C58-9C8D-2B1FAD50BD7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15360" y="2172748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AB83DAD6-F2E4-42E1-A4EE-C687615A3E0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800" y="2899597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90EDD940-259E-4829-8E35-E18B2D80EE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5360" y="2925437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9">
            <a:extLst>
              <a:ext uri="{FF2B5EF4-FFF2-40B4-BE49-F238E27FC236}">
                <a16:creationId xmlns:a16="http://schemas.microsoft.com/office/drawing/2014/main" id="{9802C2BE-B1B2-4E86-82FE-3D0646E918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2800" y="367952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18EBD071-CF30-4469-9F10-CB42C7916FA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15360" y="370536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B3C1887B-BFF0-4968-B8C3-0F83E66524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2800" y="443410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AA1582F3-1BA9-4358-BFE5-9640A017A06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15360" y="445994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1D0E6C05-C89A-499C-9021-D2FEEC605C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800" y="5214035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C9F730AD-E09A-4443-8E8F-D5734BB2D7E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015360" y="5239875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28">
            <a:extLst>
              <a:ext uri="{FF2B5EF4-FFF2-40B4-BE49-F238E27FC236}">
                <a16:creationId xmlns:a16="http://schemas.microsoft.com/office/drawing/2014/main" id="{53D3D8CF-E605-4768-9603-689E5785C0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205400" y="1"/>
            <a:ext cx="6986601" cy="4853941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6601" h="4853941">
                <a:moveTo>
                  <a:pt x="0" y="0"/>
                </a:moveTo>
                <a:lnTo>
                  <a:pt x="5002307" y="0"/>
                </a:lnTo>
                <a:lnTo>
                  <a:pt x="6986601" y="1372945"/>
                </a:lnTo>
                <a:lnTo>
                  <a:pt x="6986601" y="4853941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0447E7-2370-40EB-9592-91B302D0C28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8C5B83D-D9AA-4B70-AD78-85BFC25F5E85}"/>
              </a:ext>
            </a:extLst>
          </p:cNvPr>
          <p:cNvSpPr/>
          <p:nvPr userDrawn="1"/>
        </p:nvSpPr>
        <p:spPr>
          <a:xfrm rot="4191016">
            <a:off x="483992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B4700A33-6DF5-4783-B61A-C9245483BD6A}"/>
              </a:ext>
            </a:extLst>
          </p:cNvPr>
          <p:cNvSpPr/>
          <p:nvPr userDrawn="1"/>
        </p:nvSpPr>
        <p:spPr>
          <a:xfrm flipH="1">
            <a:off x="9184940" y="3117122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4" name="Freeform: Shape 18">
            <a:extLst>
              <a:ext uri="{FF2B5EF4-FFF2-40B4-BE49-F238E27FC236}">
                <a16:creationId xmlns:a16="http://schemas.microsoft.com/office/drawing/2014/main" id="{3EA723EF-E362-4384-AE04-AB89112E4BC0}"/>
              </a:ext>
            </a:extLst>
          </p:cNvPr>
          <p:cNvSpPr/>
          <p:nvPr userDrawn="1"/>
        </p:nvSpPr>
        <p:spPr>
          <a:xfrm rot="4191016">
            <a:off x="10193741" y="-235643"/>
            <a:ext cx="2181945" cy="1879451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8884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8884" y="724009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1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8868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 20">
            <a:extLst>
              <a:ext uri="{FF2B5EF4-FFF2-40B4-BE49-F238E27FC236}">
                <a16:creationId xmlns:a16="http://schemas.microsoft.com/office/drawing/2014/main" id="{AD3AE23F-988B-564F-876F-C0158BED6563}"/>
              </a:ext>
            </a:extLst>
          </p:cNvPr>
          <p:cNvSpPr/>
          <p:nvPr/>
        </p:nvSpPr>
        <p:spPr>
          <a:xfrm>
            <a:off x="0" y="-3821"/>
            <a:ext cx="3119527" cy="2170074"/>
          </a:xfrm>
          <a:custGeom>
            <a:avLst/>
            <a:gdLst>
              <a:gd name="connsiteX0" fmla="*/ 0 w 3119527"/>
              <a:gd name="connsiteY0" fmla="*/ 0 h 2170074"/>
              <a:gd name="connsiteX1" fmla="*/ 3119527 w 3119527"/>
              <a:gd name="connsiteY1" fmla="*/ 1224 h 2170074"/>
              <a:gd name="connsiteX2" fmla="*/ 0 w 3119527"/>
              <a:gd name="connsiteY2" fmla="*/ 2170074 h 2170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19527" h="2170074">
                <a:moveTo>
                  <a:pt x="0" y="0"/>
                </a:moveTo>
                <a:lnTo>
                  <a:pt x="3119527" y="1224"/>
                </a:lnTo>
                <a:lnTo>
                  <a:pt x="0" y="2170074"/>
                </a:lnTo>
                <a:close/>
              </a:path>
            </a:pathLst>
          </a:custGeom>
          <a:gradFill>
            <a:gsLst>
              <a:gs pos="0">
                <a:srgbClr val="007199"/>
              </a:gs>
              <a:gs pos="100000">
                <a:srgbClr val="00AECF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3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64203167-F8D4-5045-BC57-8D5D46A2DF5D}"/>
              </a:ext>
            </a:extLst>
          </p:cNvPr>
          <p:cNvSpPr/>
          <p:nvPr/>
        </p:nvSpPr>
        <p:spPr>
          <a:xfrm>
            <a:off x="0" y="-9519"/>
            <a:ext cx="2249484" cy="1571852"/>
          </a:xfrm>
          <a:custGeom>
            <a:avLst/>
            <a:gdLst>
              <a:gd name="connsiteX0" fmla="*/ 2249484 w 2249484"/>
              <a:gd name="connsiteY0" fmla="*/ 0 h 1571852"/>
              <a:gd name="connsiteX1" fmla="*/ 0 w 2249484"/>
              <a:gd name="connsiteY1" fmla="*/ 1571852 h 1571852"/>
              <a:gd name="connsiteX2" fmla="*/ 0 w 2249484"/>
              <a:gd name="connsiteY2" fmla="*/ 5454 h 157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9484" h="1571852">
                <a:moveTo>
                  <a:pt x="2249484" y="0"/>
                </a:moveTo>
                <a:lnTo>
                  <a:pt x="0" y="1571852"/>
                </a:lnTo>
                <a:lnTo>
                  <a:pt x="0" y="5454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62000">
                <a:srgbClr val="073262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BD1E0693-F664-448A-9D7A-93A03D6B7E90}"/>
              </a:ext>
            </a:extLst>
          </p:cNvPr>
          <p:cNvSpPr/>
          <p:nvPr/>
        </p:nvSpPr>
        <p:spPr>
          <a:xfrm>
            <a:off x="-11983" y="1997929"/>
            <a:ext cx="887194" cy="1242604"/>
          </a:xfrm>
          <a:custGeom>
            <a:avLst/>
            <a:gdLst>
              <a:gd name="connsiteX0" fmla="*/ 19050 w 1838325"/>
              <a:gd name="connsiteY0" fmla="*/ 0 h 1276350"/>
              <a:gd name="connsiteX1" fmla="*/ 1838325 w 1838325"/>
              <a:gd name="connsiteY1" fmla="*/ 1276350 h 1276350"/>
              <a:gd name="connsiteX2" fmla="*/ 0 w 1838325"/>
              <a:gd name="connsiteY2" fmla="*/ 1276350 h 1276350"/>
              <a:gd name="connsiteX3" fmla="*/ 19050 w 1838325"/>
              <a:gd name="connsiteY3" fmla="*/ 0 h 1276350"/>
              <a:gd name="connsiteX0" fmla="*/ 0 w 1819275"/>
              <a:gd name="connsiteY0" fmla="*/ 0 h 1276350"/>
              <a:gd name="connsiteX1" fmla="*/ 1819275 w 1819275"/>
              <a:gd name="connsiteY1" fmla="*/ 1276350 h 1276350"/>
              <a:gd name="connsiteX2" fmla="*/ 20790 w 1819275"/>
              <a:gd name="connsiteY2" fmla="*/ 1276350 h 1276350"/>
              <a:gd name="connsiteX3" fmla="*/ 0 w 1819275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9407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2046931"/>
              <a:gd name="connsiteY0" fmla="*/ 0 h 1274281"/>
              <a:gd name="connsiteX1" fmla="*/ 2046931 w 2046931"/>
              <a:gd name="connsiteY1" fmla="*/ 1268074 h 1274281"/>
              <a:gd name="connsiteX2" fmla="*/ 3717 w 2046931"/>
              <a:gd name="connsiteY2" fmla="*/ 1274281 h 1274281"/>
              <a:gd name="connsiteX3" fmla="*/ 0 w 2046931"/>
              <a:gd name="connsiteY3" fmla="*/ 0 h 1274281"/>
              <a:gd name="connsiteX0" fmla="*/ 0 w 2046931"/>
              <a:gd name="connsiteY0" fmla="*/ 0 h 1141859"/>
              <a:gd name="connsiteX1" fmla="*/ 2046931 w 2046931"/>
              <a:gd name="connsiteY1" fmla="*/ 1135652 h 1141859"/>
              <a:gd name="connsiteX2" fmla="*/ 3717 w 2046931"/>
              <a:gd name="connsiteY2" fmla="*/ 1141859 h 1141859"/>
              <a:gd name="connsiteX3" fmla="*/ 0 w 2046931"/>
              <a:gd name="connsiteY3" fmla="*/ 0 h 1141859"/>
              <a:gd name="connsiteX0" fmla="*/ 19318 w 2066249"/>
              <a:gd name="connsiteY0" fmla="*/ 0 h 1994325"/>
              <a:gd name="connsiteX1" fmla="*/ 2066249 w 2066249"/>
              <a:gd name="connsiteY1" fmla="*/ 1135652 h 1994325"/>
              <a:gd name="connsiteX2" fmla="*/ 269 w 2066249"/>
              <a:gd name="connsiteY2" fmla="*/ 1994325 h 1994325"/>
              <a:gd name="connsiteX3" fmla="*/ 19318 w 2066249"/>
              <a:gd name="connsiteY3" fmla="*/ 0 h 1994325"/>
              <a:gd name="connsiteX0" fmla="*/ 19318 w 2043483"/>
              <a:gd name="connsiteY0" fmla="*/ 0 h 1994325"/>
              <a:gd name="connsiteX1" fmla="*/ 2043483 w 2043483"/>
              <a:gd name="connsiteY1" fmla="*/ 1110823 h 1994325"/>
              <a:gd name="connsiteX2" fmla="*/ 269 w 2043483"/>
              <a:gd name="connsiteY2" fmla="*/ 1994325 h 1994325"/>
              <a:gd name="connsiteX3" fmla="*/ 19318 w 2043483"/>
              <a:gd name="connsiteY3" fmla="*/ 0 h 1994325"/>
              <a:gd name="connsiteX0" fmla="*/ 8129 w 2032294"/>
              <a:gd name="connsiteY0" fmla="*/ 0 h 2159852"/>
              <a:gd name="connsiteX1" fmla="*/ 2032294 w 2032294"/>
              <a:gd name="connsiteY1" fmla="*/ 1110823 h 2159852"/>
              <a:gd name="connsiteX2" fmla="*/ 463 w 2032294"/>
              <a:gd name="connsiteY2" fmla="*/ 2159852 h 2159852"/>
              <a:gd name="connsiteX3" fmla="*/ 8129 w 2032294"/>
              <a:gd name="connsiteY3" fmla="*/ 0 h 2159852"/>
              <a:gd name="connsiteX0" fmla="*/ 0 w 2104430"/>
              <a:gd name="connsiteY0" fmla="*/ 0 h 1843086"/>
              <a:gd name="connsiteX1" fmla="*/ 2104430 w 2104430"/>
              <a:gd name="connsiteY1" fmla="*/ 794057 h 1843086"/>
              <a:gd name="connsiteX2" fmla="*/ 72599 w 2104430"/>
              <a:gd name="connsiteY2" fmla="*/ 1843086 h 1843086"/>
              <a:gd name="connsiteX3" fmla="*/ 0 w 2104430"/>
              <a:gd name="connsiteY3" fmla="*/ 0 h 1843086"/>
              <a:gd name="connsiteX0" fmla="*/ 0 w 2044232"/>
              <a:gd name="connsiteY0" fmla="*/ 0 h 2152308"/>
              <a:gd name="connsiteX1" fmla="*/ 2044232 w 2044232"/>
              <a:gd name="connsiteY1" fmla="*/ 1103279 h 2152308"/>
              <a:gd name="connsiteX2" fmla="*/ 12401 w 2044232"/>
              <a:gd name="connsiteY2" fmla="*/ 2152308 h 2152308"/>
              <a:gd name="connsiteX3" fmla="*/ 0 w 2044232"/>
              <a:gd name="connsiteY3" fmla="*/ 0 h 2152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4232" h="2152308">
                <a:moveTo>
                  <a:pt x="0" y="0"/>
                </a:moveTo>
                <a:lnTo>
                  <a:pt x="2044232" y="1103279"/>
                </a:lnTo>
                <a:lnTo>
                  <a:pt x="12401" y="2152308"/>
                </a:lnTo>
                <a:cubicBezTo>
                  <a:pt x="9265" y="1726858"/>
                  <a:pt x="3136" y="425450"/>
                  <a:pt x="0" y="0"/>
                </a:cubicBezTo>
                <a:close/>
              </a:path>
            </a:pathLst>
          </a:custGeom>
          <a:gradFill>
            <a:gsLst>
              <a:gs pos="9000">
                <a:srgbClr val="FF555F">
                  <a:alpha val="0"/>
                </a:srgbClr>
              </a:gs>
              <a:gs pos="100000">
                <a:srgbClr val="FF555F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5BDCB9F-EF00-4740-A039-6C5374289B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48114" y="0"/>
            <a:ext cx="8543886" cy="5941720"/>
          </a:xfrm>
          <a:custGeom>
            <a:avLst/>
            <a:gdLst>
              <a:gd name="connsiteX0" fmla="*/ 0 w 8543886"/>
              <a:gd name="connsiteY0" fmla="*/ 0 h 5941720"/>
              <a:gd name="connsiteX1" fmla="*/ 8543886 w 8543886"/>
              <a:gd name="connsiteY1" fmla="*/ 0 h 5941720"/>
              <a:gd name="connsiteX2" fmla="*/ 8543886 w 8543886"/>
              <a:gd name="connsiteY2" fmla="*/ 5941720 h 594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886" h="5941720">
                <a:moveTo>
                  <a:pt x="0" y="0"/>
                </a:moveTo>
                <a:lnTo>
                  <a:pt x="8543886" y="0"/>
                </a:lnTo>
                <a:lnTo>
                  <a:pt x="8543886" y="594172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4972997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B87D776C-79F6-D44E-9FFA-CA482D54AFB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ACEF1787-A2E1-458A-BF2D-A3E6A5C67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560262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dirty="0"/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1</a:t>
            </a:r>
            <a:endParaRPr lang="en-GB"/>
          </a:p>
        </p:txBody>
      </p:sp>
      <p:sp>
        <p:nvSpPr>
          <p:cNvPr id="20" name="Freeform 17">
            <a:extLst>
              <a:ext uri="{FF2B5EF4-FFF2-40B4-BE49-F238E27FC236}">
                <a16:creationId xmlns:a16="http://schemas.microsoft.com/office/drawing/2014/main" id="{667D5848-2C00-434A-95F4-0BB2E59ACF12}"/>
              </a:ext>
            </a:extLst>
          </p:cNvPr>
          <p:cNvSpPr/>
          <p:nvPr userDrawn="1"/>
        </p:nvSpPr>
        <p:spPr>
          <a:xfrm>
            <a:off x="0" y="-9519"/>
            <a:ext cx="2249484" cy="1571852"/>
          </a:xfrm>
          <a:custGeom>
            <a:avLst/>
            <a:gdLst>
              <a:gd name="connsiteX0" fmla="*/ 2249484 w 2249484"/>
              <a:gd name="connsiteY0" fmla="*/ 0 h 1571852"/>
              <a:gd name="connsiteX1" fmla="*/ 0 w 2249484"/>
              <a:gd name="connsiteY1" fmla="*/ 1571852 h 1571852"/>
              <a:gd name="connsiteX2" fmla="*/ 0 w 2249484"/>
              <a:gd name="connsiteY2" fmla="*/ 5454 h 157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9484" h="1571852">
                <a:moveTo>
                  <a:pt x="2249484" y="0"/>
                </a:moveTo>
                <a:lnTo>
                  <a:pt x="0" y="1571852"/>
                </a:lnTo>
                <a:lnTo>
                  <a:pt x="0" y="5454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62000">
                <a:srgbClr val="073262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B97E7568-823C-4CBD-8378-DB4576EA10FD}"/>
              </a:ext>
            </a:extLst>
          </p:cNvPr>
          <p:cNvSpPr/>
          <p:nvPr userDrawn="1"/>
        </p:nvSpPr>
        <p:spPr>
          <a:xfrm>
            <a:off x="-11983" y="1997929"/>
            <a:ext cx="887194" cy="1242604"/>
          </a:xfrm>
          <a:custGeom>
            <a:avLst/>
            <a:gdLst>
              <a:gd name="connsiteX0" fmla="*/ 19050 w 1838325"/>
              <a:gd name="connsiteY0" fmla="*/ 0 h 1276350"/>
              <a:gd name="connsiteX1" fmla="*/ 1838325 w 1838325"/>
              <a:gd name="connsiteY1" fmla="*/ 1276350 h 1276350"/>
              <a:gd name="connsiteX2" fmla="*/ 0 w 1838325"/>
              <a:gd name="connsiteY2" fmla="*/ 1276350 h 1276350"/>
              <a:gd name="connsiteX3" fmla="*/ 19050 w 1838325"/>
              <a:gd name="connsiteY3" fmla="*/ 0 h 1276350"/>
              <a:gd name="connsiteX0" fmla="*/ 0 w 1819275"/>
              <a:gd name="connsiteY0" fmla="*/ 0 h 1276350"/>
              <a:gd name="connsiteX1" fmla="*/ 1819275 w 1819275"/>
              <a:gd name="connsiteY1" fmla="*/ 1276350 h 1276350"/>
              <a:gd name="connsiteX2" fmla="*/ 20790 w 1819275"/>
              <a:gd name="connsiteY2" fmla="*/ 1276350 h 1276350"/>
              <a:gd name="connsiteX3" fmla="*/ 0 w 1819275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9407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2046931"/>
              <a:gd name="connsiteY0" fmla="*/ 0 h 1274281"/>
              <a:gd name="connsiteX1" fmla="*/ 2046931 w 2046931"/>
              <a:gd name="connsiteY1" fmla="*/ 1268074 h 1274281"/>
              <a:gd name="connsiteX2" fmla="*/ 3717 w 2046931"/>
              <a:gd name="connsiteY2" fmla="*/ 1274281 h 1274281"/>
              <a:gd name="connsiteX3" fmla="*/ 0 w 2046931"/>
              <a:gd name="connsiteY3" fmla="*/ 0 h 1274281"/>
              <a:gd name="connsiteX0" fmla="*/ 0 w 2046931"/>
              <a:gd name="connsiteY0" fmla="*/ 0 h 1141859"/>
              <a:gd name="connsiteX1" fmla="*/ 2046931 w 2046931"/>
              <a:gd name="connsiteY1" fmla="*/ 1135652 h 1141859"/>
              <a:gd name="connsiteX2" fmla="*/ 3717 w 2046931"/>
              <a:gd name="connsiteY2" fmla="*/ 1141859 h 1141859"/>
              <a:gd name="connsiteX3" fmla="*/ 0 w 2046931"/>
              <a:gd name="connsiteY3" fmla="*/ 0 h 1141859"/>
              <a:gd name="connsiteX0" fmla="*/ 19318 w 2066249"/>
              <a:gd name="connsiteY0" fmla="*/ 0 h 1994325"/>
              <a:gd name="connsiteX1" fmla="*/ 2066249 w 2066249"/>
              <a:gd name="connsiteY1" fmla="*/ 1135652 h 1994325"/>
              <a:gd name="connsiteX2" fmla="*/ 269 w 2066249"/>
              <a:gd name="connsiteY2" fmla="*/ 1994325 h 1994325"/>
              <a:gd name="connsiteX3" fmla="*/ 19318 w 2066249"/>
              <a:gd name="connsiteY3" fmla="*/ 0 h 1994325"/>
              <a:gd name="connsiteX0" fmla="*/ 19318 w 2043483"/>
              <a:gd name="connsiteY0" fmla="*/ 0 h 1994325"/>
              <a:gd name="connsiteX1" fmla="*/ 2043483 w 2043483"/>
              <a:gd name="connsiteY1" fmla="*/ 1110823 h 1994325"/>
              <a:gd name="connsiteX2" fmla="*/ 269 w 2043483"/>
              <a:gd name="connsiteY2" fmla="*/ 1994325 h 1994325"/>
              <a:gd name="connsiteX3" fmla="*/ 19318 w 2043483"/>
              <a:gd name="connsiteY3" fmla="*/ 0 h 1994325"/>
              <a:gd name="connsiteX0" fmla="*/ 8129 w 2032294"/>
              <a:gd name="connsiteY0" fmla="*/ 0 h 2159852"/>
              <a:gd name="connsiteX1" fmla="*/ 2032294 w 2032294"/>
              <a:gd name="connsiteY1" fmla="*/ 1110823 h 2159852"/>
              <a:gd name="connsiteX2" fmla="*/ 463 w 2032294"/>
              <a:gd name="connsiteY2" fmla="*/ 2159852 h 2159852"/>
              <a:gd name="connsiteX3" fmla="*/ 8129 w 2032294"/>
              <a:gd name="connsiteY3" fmla="*/ 0 h 2159852"/>
              <a:gd name="connsiteX0" fmla="*/ 0 w 2104430"/>
              <a:gd name="connsiteY0" fmla="*/ 0 h 1843086"/>
              <a:gd name="connsiteX1" fmla="*/ 2104430 w 2104430"/>
              <a:gd name="connsiteY1" fmla="*/ 794057 h 1843086"/>
              <a:gd name="connsiteX2" fmla="*/ 72599 w 2104430"/>
              <a:gd name="connsiteY2" fmla="*/ 1843086 h 1843086"/>
              <a:gd name="connsiteX3" fmla="*/ 0 w 2104430"/>
              <a:gd name="connsiteY3" fmla="*/ 0 h 1843086"/>
              <a:gd name="connsiteX0" fmla="*/ 0 w 2044232"/>
              <a:gd name="connsiteY0" fmla="*/ 0 h 2152308"/>
              <a:gd name="connsiteX1" fmla="*/ 2044232 w 2044232"/>
              <a:gd name="connsiteY1" fmla="*/ 1103279 h 2152308"/>
              <a:gd name="connsiteX2" fmla="*/ 12401 w 2044232"/>
              <a:gd name="connsiteY2" fmla="*/ 2152308 h 2152308"/>
              <a:gd name="connsiteX3" fmla="*/ 0 w 2044232"/>
              <a:gd name="connsiteY3" fmla="*/ 0 h 2152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4232" h="2152308">
                <a:moveTo>
                  <a:pt x="0" y="0"/>
                </a:moveTo>
                <a:lnTo>
                  <a:pt x="2044232" y="1103279"/>
                </a:lnTo>
                <a:lnTo>
                  <a:pt x="12401" y="2152308"/>
                </a:lnTo>
                <a:cubicBezTo>
                  <a:pt x="9265" y="1726858"/>
                  <a:pt x="3136" y="425450"/>
                  <a:pt x="0" y="0"/>
                </a:cubicBezTo>
                <a:close/>
              </a:path>
            </a:pathLst>
          </a:custGeom>
          <a:gradFill>
            <a:gsLst>
              <a:gs pos="9000">
                <a:srgbClr val="FF555F">
                  <a:alpha val="0"/>
                </a:srgbClr>
              </a:gs>
              <a:gs pos="100000">
                <a:srgbClr val="FF555F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77A96C76-0097-4274-9DA2-D1F8E7937F33}"/>
              </a:ext>
            </a:extLst>
          </p:cNvPr>
          <p:cNvSpPr/>
          <p:nvPr userDrawn="1"/>
        </p:nvSpPr>
        <p:spPr>
          <a:xfrm rot="4191016">
            <a:off x="3401016" y="-500975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D4A7702-172F-4F6B-8FA4-0097A75DF785}"/>
              </a:ext>
            </a:extLst>
          </p:cNvPr>
          <p:cNvSpPr/>
          <p:nvPr userDrawn="1"/>
        </p:nvSpPr>
        <p:spPr>
          <a:xfrm flipH="1">
            <a:off x="9184940" y="3705794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77866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22_Divi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37363E61-7CF1-A94D-B206-5B49A9CC19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28966" y="141209"/>
            <a:ext cx="9663034" cy="6716791"/>
          </a:xfrm>
          <a:custGeom>
            <a:avLst/>
            <a:gdLst>
              <a:gd name="connsiteX0" fmla="*/ 9663034 w 9663034"/>
              <a:gd name="connsiteY0" fmla="*/ 0 h 6716791"/>
              <a:gd name="connsiteX1" fmla="*/ 9663034 w 9663034"/>
              <a:gd name="connsiteY1" fmla="*/ 4814575 h 6716791"/>
              <a:gd name="connsiteX2" fmla="*/ 6941731 w 9663034"/>
              <a:gd name="connsiteY2" fmla="*/ 6716791 h 6716791"/>
              <a:gd name="connsiteX3" fmla="*/ 0 w 9663034"/>
              <a:gd name="connsiteY3" fmla="*/ 6716791 h 6716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63034" h="6716791">
                <a:moveTo>
                  <a:pt x="9663034" y="0"/>
                </a:moveTo>
                <a:lnTo>
                  <a:pt x="9663034" y="4814575"/>
                </a:lnTo>
                <a:lnTo>
                  <a:pt x="6941731" y="6716791"/>
                </a:lnTo>
                <a:lnTo>
                  <a:pt x="0" y="67167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2645439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6A93C236-DDC8-AB42-B158-C3A75D57257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EB28338C-0118-4339-8B11-1628D97DA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1246559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2</a:t>
            </a:r>
            <a:endParaRPr lang="en-GB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842DA984-1D2F-2140-8491-B516D776CAC4}"/>
              </a:ext>
            </a:extLst>
          </p:cNvPr>
          <p:cNvSpPr/>
          <p:nvPr userDrawn="1"/>
        </p:nvSpPr>
        <p:spPr>
          <a:xfrm>
            <a:off x="0" y="4910678"/>
            <a:ext cx="4279900" cy="1947322"/>
          </a:xfrm>
          <a:custGeom>
            <a:avLst/>
            <a:gdLst>
              <a:gd name="connsiteX0" fmla="*/ 1467015 w 4279900"/>
              <a:gd name="connsiteY0" fmla="*/ 0 h 1947322"/>
              <a:gd name="connsiteX1" fmla="*/ 4279900 w 4279900"/>
              <a:gd name="connsiteY1" fmla="*/ 1947322 h 1947322"/>
              <a:gd name="connsiteX2" fmla="*/ 0 w 4279900"/>
              <a:gd name="connsiteY2" fmla="*/ 1947322 h 1947322"/>
              <a:gd name="connsiteX3" fmla="*/ 0 w 4279900"/>
              <a:gd name="connsiteY3" fmla="*/ 1020577 h 1947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79900" h="1947322">
                <a:moveTo>
                  <a:pt x="1467015" y="0"/>
                </a:moveTo>
                <a:lnTo>
                  <a:pt x="4279900" y="1947322"/>
                </a:lnTo>
                <a:lnTo>
                  <a:pt x="0" y="1947322"/>
                </a:lnTo>
                <a:lnTo>
                  <a:pt x="0" y="102057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chemeClr val="accent2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321975A5-5726-314A-B546-DA0044580E14}"/>
              </a:ext>
            </a:extLst>
          </p:cNvPr>
          <p:cNvSpPr/>
          <p:nvPr userDrawn="1"/>
        </p:nvSpPr>
        <p:spPr>
          <a:xfrm>
            <a:off x="1745857" y="5440650"/>
            <a:ext cx="2442751" cy="1417350"/>
          </a:xfrm>
          <a:custGeom>
            <a:avLst/>
            <a:gdLst>
              <a:gd name="connsiteX0" fmla="*/ 2031703 w 2442751"/>
              <a:gd name="connsiteY0" fmla="*/ 0 h 1417350"/>
              <a:gd name="connsiteX1" fmla="*/ 2442751 w 2442751"/>
              <a:gd name="connsiteY1" fmla="*/ 267995 h 1417350"/>
              <a:gd name="connsiteX2" fmla="*/ 783199 w 2442751"/>
              <a:gd name="connsiteY2" fmla="*/ 1417350 h 1417350"/>
              <a:gd name="connsiteX3" fmla="*/ 0 w 2442751"/>
              <a:gd name="connsiteY3" fmla="*/ 1417350 h 141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2751" h="1417350">
                <a:moveTo>
                  <a:pt x="2031703" y="0"/>
                </a:moveTo>
                <a:lnTo>
                  <a:pt x="2442751" y="267995"/>
                </a:lnTo>
                <a:lnTo>
                  <a:pt x="783199" y="1417350"/>
                </a:lnTo>
                <a:lnTo>
                  <a:pt x="0" y="141735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0" name="Freeform 28">
            <a:extLst>
              <a:ext uri="{FF2B5EF4-FFF2-40B4-BE49-F238E27FC236}">
                <a16:creationId xmlns:a16="http://schemas.microsoft.com/office/drawing/2014/main" id="{447BDDC6-505D-4732-B677-284CBEC734D1}"/>
              </a:ext>
            </a:extLst>
          </p:cNvPr>
          <p:cNvSpPr/>
          <p:nvPr userDrawn="1"/>
        </p:nvSpPr>
        <p:spPr>
          <a:xfrm rot="10800000">
            <a:off x="9763185" y="-1"/>
            <a:ext cx="2428815" cy="1426848"/>
          </a:xfrm>
          <a:custGeom>
            <a:avLst/>
            <a:gdLst>
              <a:gd name="connsiteX0" fmla="*/ 991465 w 2428815"/>
              <a:gd name="connsiteY0" fmla="*/ 1426848 h 1426848"/>
              <a:gd name="connsiteX1" fmla="*/ 0 w 2428815"/>
              <a:gd name="connsiteY1" fmla="*/ 1426848 h 1426848"/>
              <a:gd name="connsiteX2" fmla="*/ 0 w 2428815"/>
              <a:gd name="connsiteY2" fmla="*/ 1283606 h 1426848"/>
              <a:gd name="connsiteX3" fmla="*/ 1845489 w 2428815"/>
              <a:gd name="connsiteY3" fmla="*/ 0 h 1426848"/>
              <a:gd name="connsiteX4" fmla="*/ 2428815 w 2428815"/>
              <a:gd name="connsiteY4" fmla="*/ 399380 h 1426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8815" h="1426848">
                <a:moveTo>
                  <a:pt x="991465" y="1426848"/>
                </a:moveTo>
                <a:lnTo>
                  <a:pt x="0" y="1426848"/>
                </a:lnTo>
                <a:lnTo>
                  <a:pt x="0" y="1283606"/>
                </a:lnTo>
                <a:lnTo>
                  <a:pt x="1845489" y="0"/>
                </a:lnTo>
                <a:lnTo>
                  <a:pt x="2428815" y="39938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9000">
                <a:schemeClr val="accent2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7A5D467-3077-47DD-939A-561425A39FE1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4644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Divi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3627052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519455F8-E443-2E47-84AE-B5E3AB72DCED}"/>
              </a:ext>
            </a:extLst>
          </p:cNvPr>
          <p:cNvSpPr/>
          <p:nvPr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7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5C50561-D087-47A2-8E0E-B095F51A359E}"/>
              </a:ext>
            </a:extLst>
          </p:cNvPr>
          <p:cNvSpPr/>
          <p:nvPr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3"/>
              </a:gs>
              <a:gs pos="92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41CDB2D-7FA5-4BA7-AEA0-FE2551E49C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260570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3</a:t>
            </a:r>
            <a:endParaRPr lang="en-GB"/>
          </a:p>
        </p:txBody>
      </p:sp>
      <p:sp>
        <p:nvSpPr>
          <p:cNvPr id="23" name="Freeform 18">
            <a:extLst>
              <a:ext uri="{FF2B5EF4-FFF2-40B4-BE49-F238E27FC236}">
                <a16:creationId xmlns:a16="http://schemas.microsoft.com/office/drawing/2014/main" id="{6F10E259-8957-4A25-A1FE-6233728BBD6A}"/>
              </a:ext>
            </a:extLst>
          </p:cNvPr>
          <p:cNvSpPr/>
          <p:nvPr userDrawn="1"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927166BE-C525-4B89-9317-E7513C3FD974}"/>
              </a:ext>
            </a:extLst>
          </p:cNvPr>
          <p:cNvSpPr/>
          <p:nvPr userDrawn="1"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6E0280A-C911-477A-9CA7-94686E8EAF5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51B5DFE-8647-49A7-BA9A-2D61704E1D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652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Divi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3">
            <a:extLst>
              <a:ext uri="{FF2B5EF4-FFF2-40B4-BE49-F238E27FC236}">
                <a16:creationId xmlns:a16="http://schemas.microsoft.com/office/drawing/2014/main" id="{D80F8535-1B37-C640-9522-9FFE23DA8F4E}"/>
              </a:ext>
            </a:extLst>
          </p:cNvPr>
          <p:cNvSpPr/>
          <p:nvPr/>
        </p:nvSpPr>
        <p:spPr>
          <a:xfrm>
            <a:off x="-6225" y="4376941"/>
            <a:ext cx="6589331" cy="2481059"/>
          </a:xfrm>
          <a:custGeom>
            <a:avLst/>
            <a:gdLst>
              <a:gd name="connsiteX0" fmla="*/ 3012948 w 6589331"/>
              <a:gd name="connsiteY0" fmla="*/ 0 h 2481059"/>
              <a:gd name="connsiteX1" fmla="*/ 6589331 w 6589331"/>
              <a:gd name="connsiteY1" fmla="*/ 2471153 h 2481059"/>
              <a:gd name="connsiteX2" fmla="*/ 5715 w 6589331"/>
              <a:gd name="connsiteY2" fmla="*/ 2481059 h 2481059"/>
              <a:gd name="connsiteX3" fmla="*/ 0 w 6589331"/>
              <a:gd name="connsiteY3" fmla="*/ 2472071 h 2481059"/>
              <a:gd name="connsiteX4" fmla="*/ 0 w 6589331"/>
              <a:gd name="connsiteY4" fmla="*/ 2094159 h 2481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9331" h="2481059">
                <a:moveTo>
                  <a:pt x="3012948" y="0"/>
                </a:moveTo>
                <a:lnTo>
                  <a:pt x="6589331" y="2471153"/>
                </a:lnTo>
                <a:lnTo>
                  <a:pt x="5715" y="2481059"/>
                </a:lnTo>
                <a:lnTo>
                  <a:pt x="0" y="2472071"/>
                </a:lnTo>
                <a:lnTo>
                  <a:pt x="0" y="2094159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E0BA6F1B-DB4E-4726-82C8-F69E131B99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74257" y="2540943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95833C23-279C-584E-A024-2A31807A9274}"/>
              </a:ext>
            </a:extLst>
          </p:cNvPr>
          <p:cNvSpPr/>
          <p:nvPr/>
        </p:nvSpPr>
        <p:spPr>
          <a:xfrm flipH="1">
            <a:off x="4047304" y="5413691"/>
            <a:ext cx="4092877" cy="1449275"/>
          </a:xfrm>
          <a:custGeom>
            <a:avLst/>
            <a:gdLst>
              <a:gd name="connsiteX0" fmla="*/ 2044180 w 4092877"/>
              <a:gd name="connsiteY0" fmla="*/ 0 h 1449275"/>
              <a:gd name="connsiteX1" fmla="*/ 0 w 4092877"/>
              <a:gd name="connsiteY1" fmla="*/ 1449275 h 1449275"/>
              <a:gd name="connsiteX2" fmla="*/ 4092877 w 4092877"/>
              <a:gd name="connsiteY2" fmla="*/ 1449275 h 1449275"/>
              <a:gd name="connsiteX3" fmla="*/ 3674121 w 4092877"/>
              <a:gd name="connsiteY3" fmla="*/ 1155304 h 1449275"/>
              <a:gd name="connsiteX4" fmla="*/ 2044180 w 4092877"/>
              <a:gd name="connsiteY4" fmla="*/ 0 h 14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2877" h="1449275">
                <a:moveTo>
                  <a:pt x="2044180" y="0"/>
                </a:moveTo>
                <a:lnTo>
                  <a:pt x="0" y="1449275"/>
                </a:lnTo>
                <a:lnTo>
                  <a:pt x="4092877" y="1449275"/>
                </a:lnTo>
                <a:lnTo>
                  <a:pt x="3674121" y="1155304"/>
                </a:lnTo>
                <a:cubicBezTo>
                  <a:pt x="3130807" y="770202"/>
                  <a:pt x="2569124" y="363906"/>
                  <a:pt x="204418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35000"/>
                </a:schemeClr>
              </a:gs>
              <a:gs pos="50000">
                <a:schemeClr val="accent2"/>
              </a:gs>
              <a:gs pos="98000">
                <a:schemeClr val="accent2">
                  <a:alpha val="3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6F00C93-F8EE-4584-A029-7488D3966167}"/>
              </a:ext>
            </a:extLst>
          </p:cNvPr>
          <p:cNvSpPr/>
          <p:nvPr/>
        </p:nvSpPr>
        <p:spPr>
          <a:xfrm>
            <a:off x="-511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CECEFDB-7B1D-4D53-AFB2-2A3E81E50E9C}"/>
              </a:ext>
            </a:extLst>
          </p:cNvPr>
          <p:cNvSpPr/>
          <p:nvPr/>
        </p:nvSpPr>
        <p:spPr>
          <a:xfrm flipH="1">
            <a:off x="7929175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997A980-7EC0-453E-ABF1-4DC83EB7CB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1239876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tx2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4</a:t>
            </a:r>
            <a:endParaRPr lang="en-GB"/>
          </a:p>
        </p:txBody>
      </p:sp>
      <p:sp>
        <p:nvSpPr>
          <p:cNvPr id="20" name="Freeform 23">
            <a:extLst>
              <a:ext uri="{FF2B5EF4-FFF2-40B4-BE49-F238E27FC236}">
                <a16:creationId xmlns:a16="http://schemas.microsoft.com/office/drawing/2014/main" id="{4AACB9C7-803C-4152-82CB-67927F253134}"/>
              </a:ext>
            </a:extLst>
          </p:cNvPr>
          <p:cNvSpPr/>
          <p:nvPr userDrawn="1"/>
        </p:nvSpPr>
        <p:spPr>
          <a:xfrm>
            <a:off x="-6225" y="4376941"/>
            <a:ext cx="6589331" cy="2481059"/>
          </a:xfrm>
          <a:custGeom>
            <a:avLst/>
            <a:gdLst>
              <a:gd name="connsiteX0" fmla="*/ 3012948 w 6589331"/>
              <a:gd name="connsiteY0" fmla="*/ 0 h 2481059"/>
              <a:gd name="connsiteX1" fmla="*/ 6589331 w 6589331"/>
              <a:gd name="connsiteY1" fmla="*/ 2471153 h 2481059"/>
              <a:gd name="connsiteX2" fmla="*/ 5715 w 6589331"/>
              <a:gd name="connsiteY2" fmla="*/ 2481059 h 2481059"/>
              <a:gd name="connsiteX3" fmla="*/ 0 w 6589331"/>
              <a:gd name="connsiteY3" fmla="*/ 2472071 h 2481059"/>
              <a:gd name="connsiteX4" fmla="*/ 0 w 6589331"/>
              <a:gd name="connsiteY4" fmla="*/ 2094159 h 2481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9331" h="2481059">
                <a:moveTo>
                  <a:pt x="3012948" y="0"/>
                </a:moveTo>
                <a:lnTo>
                  <a:pt x="6589331" y="2471153"/>
                </a:lnTo>
                <a:lnTo>
                  <a:pt x="5715" y="2481059"/>
                </a:lnTo>
                <a:lnTo>
                  <a:pt x="0" y="2472071"/>
                </a:lnTo>
                <a:lnTo>
                  <a:pt x="0" y="2094159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38F6177-211A-49BE-ABB9-97949A54E26E}"/>
              </a:ext>
            </a:extLst>
          </p:cNvPr>
          <p:cNvSpPr/>
          <p:nvPr userDrawn="1"/>
        </p:nvSpPr>
        <p:spPr>
          <a:xfrm>
            <a:off x="-511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D7EF89F-2526-415C-BBDF-59E49A45CE8B}"/>
              </a:ext>
            </a:extLst>
          </p:cNvPr>
          <p:cNvSpPr/>
          <p:nvPr userDrawn="1"/>
        </p:nvSpPr>
        <p:spPr>
          <a:xfrm flipH="1">
            <a:off x="7929175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480B66D4-A5F5-624A-B6B3-939B1AD7D213}"/>
              </a:ext>
            </a:extLst>
          </p:cNvPr>
          <p:cNvSpPr/>
          <p:nvPr userDrawn="1"/>
        </p:nvSpPr>
        <p:spPr>
          <a:xfrm flipH="1">
            <a:off x="5606920" y="4371977"/>
            <a:ext cx="6580566" cy="2490989"/>
          </a:xfrm>
          <a:custGeom>
            <a:avLst/>
            <a:gdLst>
              <a:gd name="connsiteX0" fmla="*/ 3009863 w 6580566"/>
              <a:gd name="connsiteY0" fmla="*/ 0 h 2490989"/>
              <a:gd name="connsiteX1" fmla="*/ 0 w 6580566"/>
              <a:gd name="connsiteY1" fmla="*/ 2099561 h 2490989"/>
              <a:gd name="connsiteX2" fmla="*/ 0 w 6580566"/>
              <a:gd name="connsiteY2" fmla="*/ 2490989 h 2490989"/>
              <a:gd name="connsiteX3" fmla="*/ 5268197 w 6580566"/>
              <a:gd name="connsiteY3" fmla="*/ 2490989 h 2490989"/>
              <a:gd name="connsiteX4" fmla="*/ 6580566 w 6580566"/>
              <a:gd name="connsiteY4" fmla="*/ 2476120 h 2490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566" h="2490989">
                <a:moveTo>
                  <a:pt x="3009863" y="0"/>
                </a:moveTo>
                <a:lnTo>
                  <a:pt x="0" y="2099561"/>
                </a:lnTo>
                <a:lnTo>
                  <a:pt x="0" y="2490989"/>
                </a:lnTo>
                <a:lnTo>
                  <a:pt x="5268197" y="2490989"/>
                </a:lnTo>
                <a:lnTo>
                  <a:pt x="6580566" y="2476120"/>
                </a:lnTo>
                <a:close/>
              </a:path>
            </a:pathLst>
          </a:custGeom>
          <a:gradFill>
            <a:gsLst>
              <a:gs pos="28000">
                <a:schemeClr val="accent1">
                  <a:alpha val="0"/>
                </a:schemeClr>
              </a:gs>
              <a:gs pos="92000">
                <a:schemeClr val="accent1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 21">
            <a:extLst>
              <a:ext uri="{FF2B5EF4-FFF2-40B4-BE49-F238E27FC236}">
                <a16:creationId xmlns:a16="http://schemas.microsoft.com/office/drawing/2014/main" id="{2168F68C-9AED-427E-85F9-E8C1393F181B}"/>
              </a:ext>
            </a:extLst>
          </p:cNvPr>
          <p:cNvSpPr/>
          <p:nvPr userDrawn="1"/>
        </p:nvSpPr>
        <p:spPr>
          <a:xfrm flipH="1">
            <a:off x="5606920" y="4371977"/>
            <a:ext cx="6580566" cy="2490989"/>
          </a:xfrm>
          <a:custGeom>
            <a:avLst/>
            <a:gdLst>
              <a:gd name="connsiteX0" fmla="*/ 3009863 w 6580566"/>
              <a:gd name="connsiteY0" fmla="*/ 0 h 2490989"/>
              <a:gd name="connsiteX1" fmla="*/ 0 w 6580566"/>
              <a:gd name="connsiteY1" fmla="*/ 2099561 h 2490989"/>
              <a:gd name="connsiteX2" fmla="*/ 0 w 6580566"/>
              <a:gd name="connsiteY2" fmla="*/ 2490989 h 2490989"/>
              <a:gd name="connsiteX3" fmla="*/ 5268197 w 6580566"/>
              <a:gd name="connsiteY3" fmla="*/ 2490989 h 2490989"/>
              <a:gd name="connsiteX4" fmla="*/ 6580566 w 6580566"/>
              <a:gd name="connsiteY4" fmla="*/ 2476120 h 2490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566" h="2490989">
                <a:moveTo>
                  <a:pt x="3009863" y="0"/>
                </a:moveTo>
                <a:lnTo>
                  <a:pt x="0" y="2099561"/>
                </a:lnTo>
                <a:lnTo>
                  <a:pt x="0" y="2490989"/>
                </a:lnTo>
                <a:lnTo>
                  <a:pt x="5268197" y="2490989"/>
                </a:lnTo>
                <a:lnTo>
                  <a:pt x="6580566" y="2476120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3" name="Freeform 16">
            <a:extLst>
              <a:ext uri="{FF2B5EF4-FFF2-40B4-BE49-F238E27FC236}">
                <a16:creationId xmlns:a16="http://schemas.microsoft.com/office/drawing/2014/main" id="{B65377BA-7EEE-4F72-8CAE-57BDF7345B46}"/>
              </a:ext>
            </a:extLst>
          </p:cNvPr>
          <p:cNvSpPr/>
          <p:nvPr userDrawn="1"/>
        </p:nvSpPr>
        <p:spPr>
          <a:xfrm flipH="1">
            <a:off x="4047304" y="5413691"/>
            <a:ext cx="4092877" cy="1449275"/>
          </a:xfrm>
          <a:custGeom>
            <a:avLst/>
            <a:gdLst>
              <a:gd name="connsiteX0" fmla="*/ 2044180 w 4092877"/>
              <a:gd name="connsiteY0" fmla="*/ 0 h 1449275"/>
              <a:gd name="connsiteX1" fmla="*/ 0 w 4092877"/>
              <a:gd name="connsiteY1" fmla="*/ 1449275 h 1449275"/>
              <a:gd name="connsiteX2" fmla="*/ 4092877 w 4092877"/>
              <a:gd name="connsiteY2" fmla="*/ 1449275 h 1449275"/>
              <a:gd name="connsiteX3" fmla="*/ 3674121 w 4092877"/>
              <a:gd name="connsiteY3" fmla="*/ 1155304 h 1449275"/>
              <a:gd name="connsiteX4" fmla="*/ 2044180 w 4092877"/>
              <a:gd name="connsiteY4" fmla="*/ 0 h 14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2877" h="1449275">
                <a:moveTo>
                  <a:pt x="2044180" y="0"/>
                </a:moveTo>
                <a:lnTo>
                  <a:pt x="0" y="1449275"/>
                </a:lnTo>
                <a:lnTo>
                  <a:pt x="4092877" y="1449275"/>
                </a:lnTo>
                <a:lnTo>
                  <a:pt x="3674121" y="1155304"/>
                </a:lnTo>
                <a:cubicBezTo>
                  <a:pt x="3130807" y="770202"/>
                  <a:pt x="2569124" y="363906"/>
                  <a:pt x="204418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35000"/>
                </a:schemeClr>
              </a:gs>
              <a:gs pos="50000">
                <a:schemeClr val="accent2"/>
              </a:gs>
              <a:gs pos="98000">
                <a:schemeClr val="accent2">
                  <a:alpha val="3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A764AC80-FAC7-4BD1-B73A-91406AC014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8134"/>
            <a:ext cx="935900" cy="2700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C079725B-1CBE-4221-997B-07640A54E0D0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6677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22_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24">
            <a:extLst>
              <a:ext uri="{FF2B5EF4-FFF2-40B4-BE49-F238E27FC236}">
                <a16:creationId xmlns:a16="http://schemas.microsoft.com/office/drawing/2014/main" id="{5B049D90-7C0C-2543-A4A6-22DE2C411CA6}"/>
              </a:ext>
            </a:extLst>
          </p:cNvPr>
          <p:cNvSpPr/>
          <p:nvPr/>
        </p:nvSpPr>
        <p:spPr>
          <a:xfrm>
            <a:off x="0" y="4900507"/>
            <a:ext cx="4262572" cy="1957493"/>
          </a:xfrm>
          <a:custGeom>
            <a:avLst/>
            <a:gdLst>
              <a:gd name="connsiteX0" fmla="*/ 1462275 w 4262572"/>
              <a:gd name="connsiteY0" fmla="*/ 0 h 1957493"/>
              <a:gd name="connsiteX1" fmla="*/ 4262572 w 4262572"/>
              <a:gd name="connsiteY1" fmla="*/ 1957493 h 1957493"/>
              <a:gd name="connsiteX2" fmla="*/ 0 w 4262572"/>
              <a:gd name="connsiteY2" fmla="*/ 1957493 h 1957493"/>
              <a:gd name="connsiteX3" fmla="*/ 0 w 4262572"/>
              <a:gd name="connsiteY3" fmla="*/ 1021999 h 1957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62572" h="1957493">
                <a:moveTo>
                  <a:pt x="1462275" y="0"/>
                </a:moveTo>
                <a:lnTo>
                  <a:pt x="4262572" y="1957493"/>
                </a:lnTo>
                <a:lnTo>
                  <a:pt x="0" y="1957493"/>
                </a:lnTo>
                <a:lnTo>
                  <a:pt x="0" y="1021999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31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929773AE-3026-4994-9E24-119377549C30}"/>
              </a:ext>
            </a:extLst>
          </p:cNvPr>
          <p:cNvSpPr/>
          <p:nvPr/>
        </p:nvSpPr>
        <p:spPr>
          <a:xfrm>
            <a:off x="1739901" y="5448182"/>
            <a:ext cx="4065894" cy="1412994"/>
          </a:xfrm>
          <a:custGeom>
            <a:avLst/>
            <a:gdLst>
              <a:gd name="connsiteX0" fmla="*/ 0 w 4467225"/>
              <a:gd name="connsiteY0" fmla="*/ 1533525 h 1562100"/>
              <a:gd name="connsiteX1" fmla="*/ 2228850 w 4467225"/>
              <a:gd name="connsiteY1" fmla="*/ 0 h 1562100"/>
              <a:gd name="connsiteX2" fmla="*/ 4467225 w 4467225"/>
              <a:gd name="connsiteY2" fmla="*/ 1562100 h 1562100"/>
              <a:gd name="connsiteX3" fmla="*/ 0 w 4467225"/>
              <a:gd name="connsiteY3" fmla="*/ 1533525 h 1562100"/>
              <a:gd name="connsiteX0" fmla="*/ 0 w 4505325"/>
              <a:gd name="connsiteY0" fmla="*/ 1552575 h 1562100"/>
              <a:gd name="connsiteX1" fmla="*/ 2266950 w 4505325"/>
              <a:gd name="connsiteY1" fmla="*/ 0 h 1562100"/>
              <a:gd name="connsiteX2" fmla="*/ 4505325 w 4505325"/>
              <a:gd name="connsiteY2" fmla="*/ 1562100 h 1562100"/>
              <a:gd name="connsiteX3" fmla="*/ 0 w 4505325"/>
              <a:gd name="connsiteY3" fmla="*/ 1552575 h 1562100"/>
              <a:gd name="connsiteX0" fmla="*/ 0 w 4514850"/>
              <a:gd name="connsiteY0" fmla="*/ 1562100 h 1562100"/>
              <a:gd name="connsiteX1" fmla="*/ 2276475 w 4514850"/>
              <a:gd name="connsiteY1" fmla="*/ 0 h 1562100"/>
              <a:gd name="connsiteX2" fmla="*/ 4514850 w 4514850"/>
              <a:gd name="connsiteY2" fmla="*/ 1562100 h 1562100"/>
              <a:gd name="connsiteX3" fmla="*/ 0 w 4514850"/>
              <a:gd name="connsiteY3" fmla="*/ 1562100 h 1562100"/>
              <a:gd name="connsiteX0" fmla="*/ 0 w 4514850"/>
              <a:gd name="connsiteY0" fmla="*/ 1410144 h 1410144"/>
              <a:gd name="connsiteX1" fmla="*/ 2265873 w 4514850"/>
              <a:gd name="connsiteY1" fmla="*/ 0 h 1410144"/>
              <a:gd name="connsiteX2" fmla="*/ 4514850 w 4514850"/>
              <a:gd name="connsiteY2" fmla="*/ 1410144 h 1410144"/>
              <a:gd name="connsiteX3" fmla="*/ 0 w 4514850"/>
              <a:gd name="connsiteY3" fmla="*/ 1410144 h 1410144"/>
              <a:gd name="connsiteX0" fmla="*/ 0 w 4514850"/>
              <a:gd name="connsiteY0" fmla="*/ 1569168 h 1569168"/>
              <a:gd name="connsiteX1" fmla="*/ 2265873 w 4514850"/>
              <a:gd name="connsiteY1" fmla="*/ 0 h 1569168"/>
              <a:gd name="connsiteX2" fmla="*/ 4514850 w 4514850"/>
              <a:gd name="connsiteY2" fmla="*/ 1569168 h 1569168"/>
              <a:gd name="connsiteX3" fmla="*/ 0 w 4514850"/>
              <a:gd name="connsiteY3" fmla="*/ 1569168 h 1569168"/>
              <a:gd name="connsiteX0" fmla="*/ 0 w 4525452"/>
              <a:gd name="connsiteY0" fmla="*/ 1569168 h 1572702"/>
              <a:gd name="connsiteX1" fmla="*/ 2265873 w 4525452"/>
              <a:gd name="connsiteY1" fmla="*/ 0 h 1572702"/>
              <a:gd name="connsiteX2" fmla="*/ 4525452 w 4525452"/>
              <a:gd name="connsiteY2" fmla="*/ 1572702 h 1572702"/>
              <a:gd name="connsiteX3" fmla="*/ 0 w 4525452"/>
              <a:gd name="connsiteY3" fmla="*/ 1569168 h 1572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25452" h="1572702">
                <a:moveTo>
                  <a:pt x="0" y="1569168"/>
                </a:moveTo>
                <a:lnTo>
                  <a:pt x="2265873" y="0"/>
                </a:lnTo>
                <a:lnTo>
                  <a:pt x="4525452" y="1572702"/>
                </a:lnTo>
                <a:lnTo>
                  <a:pt x="0" y="1569168"/>
                </a:lnTo>
                <a:close/>
              </a:path>
            </a:pathLst>
          </a:custGeom>
          <a:gradFill flip="none" rotWithShape="1">
            <a:gsLst>
              <a:gs pos="79000">
                <a:schemeClr val="accent1"/>
              </a:gs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21594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1998EB54-0F58-441A-8144-1161535363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4257" y="3702319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BE0095B5-53D4-9C4C-8876-BE836797DEE0}"/>
              </a:ext>
            </a:extLst>
          </p:cNvPr>
          <p:cNvSpPr/>
          <p:nvPr/>
        </p:nvSpPr>
        <p:spPr>
          <a:xfrm rot="10800000">
            <a:off x="9083364" y="0"/>
            <a:ext cx="3108635" cy="1425182"/>
          </a:xfrm>
          <a:custGeom>
            <a:avLst/>
            <a:gdLst>
              <a:gd name="connsiteX0" fmla="*/ 3108635 w 3108635"/>
              <a:gd name="connsiteY0" fmla="*/ 1425182 h 1425182"/>
              <a:gd name="connsiteX1" fmla="*/ 0 w 3108635"/>
              <a:gd name="connsiteY1" fmla="*/ 1425182 h 1425182"/>
              <a:gd name="connsiteX2" fmla="*/ 0 w 3108635"/>
              <a:gd name="connsiteY2" fmla="*/ 730957 h 1425182"/>
              <a:gd name="connsiteX3" fmla="*/ 1084862 w 3108635"/>
              <a:gd name="connsiteY3" fmla="*/ 0 h 142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08635" h="1425182">
                <a:moveTo>
                  <a:pt x="3108635" y="1425182"/>
                </a:moveTo>
                <a:lnTo>
                  <a:pt x="0" y="1425182"/>
                </a:lnTo>
                <a:lnTo>
                  <a:pt x="0" y="730957"/>
                </a:lnTo>
                <a:lnTo>
                  <a:pt x="1084862" y="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31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B5DEA3EB-7023-3642-83F2-FD716952AC57}"/>
              </a:ext>
            </a:extLst>
          </p:cNvPr>
          <p:cNvSpPr/>
          <p:nvPr/>
        </p:nvSpPr>
        <p:spPr>
          <a:xfrm rot="10800000">
            <a:off x="7899082" y="-1"/>
            <a:ext cx="2943008" cy="1021432"/>
          </a:xfrm>
          <a:custGeom>
            <a:avLst/>
            <a:gdLst>
              <a:gd name="connsiteX0" fmla="*/ 2943008 w 2943008"/>
              <a:gd name="connsiteY0" fmla="*/ 1021432 h 1021432"/>
              <a:gd name="connsiteX1" fmla="*/ 0 w 2943008"/>
              <a:gd name="connsiteY1" fmla="*/ 1021432 h 1021432"/>
              <a:gd name="connsiteX2" fmla="*/ 1473230 w 2943008"/>
              <a:gd name="connsiteY2" fmla="*/ 0 h 102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43008" h="1021432">
                <a:moveTo>
                  <a:pt x="2943008" y="1021432"/>
                </a:moveTo>
                <a:lnTo>
                  <a:pt x="0" y="1021432"/>
                </a:lnTo>
                <a:lnTo>
                  <a:pt x="1473230" y="0"/>
                </a:lnTo>
                <a:close/>
              </a:path>
            </a:pathLst>
          </a:custGeom>
          <a:gradFill flip="none" rotWithShape="1">
            <a:gsLst>
              <a:gs pos="79000">
                <a:schemeClr val="accent1"/>
              </a:gs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21594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>
              <a:solidFill>
                <a:schemeClr val="tx2"/>
              </a:solidFill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26A78AB9-EAF7-7746-895A-843233C622E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612FCD5A-D75B-4B19-A0CD-3722DB639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401252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tx2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5</a:t>
            </a:r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E8E6F93-A670-4F14-B015-78190A57D001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046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22_Divider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0CC2C6EF-776C-43CF-B77C-3AD42BC255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4143" y="3702319"/>
            <a:ext cx="6843600" cy="381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Description goes her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noProof="0"/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507FF555-C362-BC4D-A8EA-21A034747FD9}"/>
              </a:ext>
            </a:extLst>
          </p:cNvPr>
          <p:cNvSpPr/>
          <p:nvPr/>
        </p:nvSpPr>
        <p:spPr>
          <a:xfrm rot="18300963" flipH="1">
            <a:off x="8503132" y="-1165064"/>
            <a:ext cx="495116" cy="4554815"/>
          </a:xfrm>
          <a:custGeom>
            <a:avLst/>
            <a:gdLst>
              <a:gd name="connsiteX0" fmla="*/ 484981 w 495116"/>
              <a:gd name="connsiteY0" fmla="*/ 0 h 4554815"/>
              <a:gd name="connsiteX1" fmla="*/ 43362 w 495116"/>
              <a:gd name="connsiteY1" fmla="*/ 630320 h 4554815"/>
              <a:gd name="connsiteX2" fmla="*/ 0 w 495116"/>
              <a:gd name="connsiteY2" fmla="*/ 4554815 h 4554815"/>
              <a:gd name="connsiteX3" fmla="*/ 484123 w 495116"/>
              <a:gd name="connsiteY3" fmla="*/ 4385194 h 4554815"/>
              <a:gd name="connsiteX4" fmla="*/ 495116 w 495116"/>
              <a:gd name="connsiteY4" fmla="*/ 3771414 h 4554815"/>
              <a:gd name="connsiteX5" fmla="*/ 466021 w 495116"/>
              <a:gd name="connsiteY5" fmla="*/ 3782827 h 4554815"/>
              <a:gd name="connsiteX6" fmla="*/ 482994 w 495116"/>
              <a:gd name="connsiteY6" fmla="*/ 370448 h 4554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5116" h="4554815">
                <a:moveTo>
                  <a:pt x="484981" y="0"/>
                </a:moveTo>
                <a:lnTo>
                  <a:pt x="43362" y="630320"/>
                </a:lnTo>
                <a:lnTo>
                  <a:pt x="0" y="4554815"/>
                </a:lnTo>
                <a:lnTo>
                  <a:pt x="484123" y="4385194"/>
                </a:lnTo>
                <a:lnTo>
                  <a:pt x="495116" y="3771414"/>
                </a:lnTo>
                <a:lnTo>
                  <a:pt x="466021" y="3782827"/>
                </a:lnTo>
                <a:cubicBezTo>
                  <a:pt x="466280" y="2865719"/>
                  <a:pt x="476637" y="1476643"/>
                  <a:pt x="482994" y="370448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BA5EF075-83E7-774F-B885-37C07770ABA8}"/>
              </a:ext>
            </a:extLst>
          </p:cNvPr>
          <p:cNvSpPr/>
          <p:nvPr/>
        </p:nvSpPr>
        <p:spPr>
          <a:xfrm rot="18300963" flipH="1">
            <a:off x="4607641" y="3724836"/>
            <a:ext cx="1098431" cy="4553250"/>
          </a:xfrm>
          <a:custGeom>
            <a:avLst/>
            <a:gdLst>
              <a:gd name="connsiteX0" fmla="*/ 7678 w 1098431"/>
              <a:gd name="connsiteY0" fmla="*/ 354047 h 4553250"/>
              <a:gd name="connsiteX1" fmla="*/ 0 w 1098431"/>
              <a:gd name="connsiteY1" fmla="*/ 4553250 h 4553250"/>
              <a:gd name="connsiteX2" fmla="*/ 1098431 w 1098431"/>
              <a:gd name="connsiteY2" fmla="*/ 2985463 h 4553250"/>
              <a:gd name="connsiteX3" fmla="*/ 1098431 w 1098431"/>
              <a:gd name="connsiteY3" fmla="*/ 0 h 4553250"/>
              <a:gd name="connsiteX4" fmla="*/ 7678 w 1098431"/>
              <a:gd name="connsiteY4" fmla="*/ 354047 h 455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8431" h="4553250">
                <a:moveTo>
                  <a:pt x="7678" y="354047"/>
                </a:moveTo>
                <a:lnTo>
                  <a:pt x="0" y="4553250"/>
                </a:lnTo>
                <a:lnTo>
                  <a:pt x="1098431" y="2985463"/>
                </a:lnTo>
                <a:lnTo>
                  <a:pt x="1098431" y="0"/>
                </a:lnTo>
                <a:cubicBezTo>
                  <a:pt x="734631" y="127326"/>
                  <a:pt x="371478" y="226721"/>
                  <a:pt x="7678" y="35404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0FDB5CF5-44C1-1D4A-A2B9-37C0F30F6278}"/>
              </a:ext>
            </a:extLst>
          </p:cNvPr>
          <p:cNvSpPr/>
          <p:nvPr/>
        </p:nvSpPr>
        <p:spPr>
          <a:xfrm rot="18300963" flipH="1">
            <a:off x="4473394" y="5471677"/>
            <a:ext cx="227425" cy="1880095"/>
          </a:xfrm>
          <a:custGeom>
            <a:avLst/>
            <a:gdLst>
              <a:gd name="connsiteX0" fmla="*/ 0 w 227425"/>
              <a:gd name="connsiteY0" fmla="*/ 96845 h 1880095"/>
              <a:gd name="connsiteX1" fmla="*/ 0 w 227425"/>
              <a:gd name="connsiteY1" fmla="*/ 1880095 h 1880095"/>
              <a:gd name="connsiteX2" fmla="*/ 224453 w 227425"/>
              <a:gd name="connsiteY2" fmla="*/ 1559734 h 1880095"/>
              <a:gd name="connsiteX3" fmla="*/ 225257 w 227425"/>
              <a:gd name="connsiteY3" fmla="*/ 1214869 h 1880095"/>
              <a:gd name="connsiteX4" fmla="*/ 227425 w 227425"/>
              <a:gd name="connsiteY4" fmla="*/ 0 h 1880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425" h="1880095">
                <a:moveTo>
                  <a:pt x="0" y="96845"/>
                </a:moveTo>
                <a:lnTo>
                  <a:pt x="0" y="1880095"/>
                </a:lnTo>
                <a:lnTo>
                  <a:pt x="224453" y="1559734"/>
                </a:lnTo>
                <a:lnTo>
                  <a:pt x="225257" y="1214869"/>
                </a:lnTo>
                <a:cubicBezTo>
                  <a:pt x="225980" y="809913"/>
                  <a:pt x="226237" y="390570"/>
                  <a:pt x="227425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7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35" name="Freeform 34">
            <a:extLst>
              <a:ext uri="{FF2B5EF4-FFF2-40B4-BE49-F238E27FC236}">
                <a16:creationId xmlns:a16="http://schemas.microsoft.com/office/drawing/2014/main" id="{4D8B62A9-4796-7441-BB51-FE9050BD3210}"/>
              </a:ext>
            </a:extLst>
          </p:cNvPr>
          <p:cNvSpPr/>
          <p:nvPr/>
        </p:nvSpPr>
        <p:spPr>
          <a:xfrm rot="18300963" flipH="1">
            <a:off x="6797834" y="-1592612"/>
            <a:ext cx="1110167" cy="5340305"/>
          </a:xfrm>
          <a:custGeom>
            <a:avLst/>
            <a:gdLst>
              <a:gd name="connsiteX0" fmla="*/ 1110167 w 1110167"/>
              <a:gd name="connsiteY0" fmla="*/ 0 h 5340305"/>
              <a:gd name="connsiteX1" fmla="*/ 18977 w 1110167"/>
              <a:gd name="connsiteY1" fmla="*/ 1557452 h 5340305"/>
              <a:gd name="connsiteX2" fmla="*/ 18186 w 1110167"/>
              <a:gd name="connsiteY2" fmla="*/ 1710683 h 5340305"/>
              <a:gd name="connsiteX3" fmla="*/ 0 w 1110167"/>
              <a:gd name="connsiteY3" fmla="*/ 5340305 h 5340305"/>
              <a:gd name="connsiteX4" fmla="*/ 1096070 w 1110167"/>
              <a:gd name="connsiteY4" fmla="*/ 4910334 h 5340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0167" h="5340305">
                <a:moveTo>
                  <a:pt x="1110167" y="0"/>
                </a:moveTo>
                <a:lnTo>
                  <a:pt x="18977" y="1557452"/>
                </a:lnTo>
                <a:lnTo>
                  <a:pt x="18186" y="1710683"/>
                </a:lnTo>
                <a:cubicBezTo>
                  <a:pt x="12041" y="2846813"/>
                  <a:pt x="276" y="4362057"/>
                  <a:pt x="0" y="5340305"/>
                </a:cubicBezTo>
                <a:lnTo>
                  <a:pt x="1096070" y="4910334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E2CC5BE5-129B-7847-BDB4-75DA3D4EA79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970D0B5-60C7-43B7-9391-F41A7E9C2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401252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>
              <a:defRPr lang="en-GB" sz="4000" dirty="0">
                <a:solidFill>
                  <a:schemeClr val="tx2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 noProof="0"/>
              <a:t>Slide divider option-6</a:t>
            </a:r>
          </a:p>
        </p:txBody>
      </p:sp>
    </p:spTree>
    <p:extLst>
      <p:ext uri="{BB962C8B-B14F-4D97-AF65-F5344CB8AC3E}">
        <p14:creationId xmlns:p14="http://schemas.microsoft.com/office/powerpoint/2010/main" val="4416755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Half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B91F8A20-C584-48B2-B8D0-5A7792E52E41}"/>
              </a:ext>
            </a:extLst>
          </p:cNvPr>
          <p:cNvSpPr/>
          <p:nvPr userDrawn="1"/>
        </p:nvSpPr>
        <p:spPr>
          <a:xfrm flipV="1">
            <a:off x="6766830" y="1"/>
            <a:ext cx="5425171" cy="3771437"/>
          </a:xfrm>
          <a:custGeom>
            <a:avLst/>
            <a:gdLst>
              <a:gd name="connsiteX0" fmla="*/ 0 w 5425171"/>
              <a:gd name="connsiteY0" fmla="*/ 3771437 h 3771437"/>
              <a:gd name="connsiteX1" fmla="*/ 5425171 w 5425171"/>
              <a:gd name="connsiteY1" fmla="*/ 3771437 h 3771437"/>
              <a:gd name="connsiteX2" fmla="*/ 5425171 w 5425171"/>
              <a:gd name="connsiteY2" fmla="*/ 0 h 3771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25171" h="3771437">
                <a:moveTo>
                  <a:pt x="0" y="3771437"/>
                </a:moveTo>
                <a:lnTo>
                  <a:pt x="5425171" y="3771437"/>
                </a:lnTo>
                <a:lnTo>
                  <a:pt x="5425171" y="0"/>
                </a:lnTo>
                <a:close/>
              </a:path>
            </a:pathLst>
          </a:custGeom>
          <a:solidFill>
            <a:schemeClr val="accent1"/>
          </a:solidFill>
          <a:ln w="15691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GB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EBC369F7-26ED-4748-B416-400F4315F894}"/>
              </a:ext>
            </a:extLst>
          </p:cNvPr>
          <p:cNvSpPr/>
          <p:nvPr userDrawn="1"/>
        </p:nvSpPr>
        <p:spPr>
          <a:xfrm rot="18300963" flipH="1">
            <a:off x="7568200" y="-802590"/>
            <a:ext cx="418585" cy="2961934"/>
          </a:xfrm>
          <a:custGeom>
            <a:avLst/>
            <a:gdLst>
              <a:gd name="connsiteX0" fmla="*/ 418585 w 418585"/>
              <a:gd name="connsiteY0" fmla="*/ 0 h 2961934"/>
              <a:gd name="connsiteX1" fmla="*/ 0 w 418585"/>
              <a:gd name="connsiteY1" fmla="*/ 597446 h 2961934"/>
              <a:gd name="connsiteX2" fmla="*/ 0 w 418585"/>
              <a:gd name="connsiteY2" fmla="*/ 2961934 h 2961934"/>
              <a:gd name="connsiteX3" fmla="*/ 418585 w 418585"/>
              <a:gd name="connsiteY3" fmla="*/ 2808101 h 296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585" h="2961934">
                <a:moveTo>
                  <a:pt x="418585" y="0"/>
                </a:moveTo>
                <a:lnTo>
                  <a:pt x="0" y="597446"/>
                </a:lnTo>
                <a:lnTo>
                  <a:pt x="0" y="2961934"/>
                </a:lnTo>
                <a:lnTo>
                  <a:pt x="418585" y="2808101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5868000" cy="2769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tabLst>
                <a:tab pos="447675" algn="l"/>
              </a:tabLst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473F4034-F802-8147-9CE9-2FDF5990DA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68000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4C88BC3-87FF-4DEA-A390-196F279DE9AD}"/>
              </a:ext>
            </a:extLst>
          </p:cNvPr>
          <p:cNvGrpSpPr/>
          <p:nvPr userDrawn="1"/>
        </p:nvGrpSpPr>
        <p:grpSpPr>
          <a:xfrm>
            <a:off x="5715188" y="0"/>
            <a:ext cx="6476813" cy="4013359"/>
            <a:chOff x="5715188" y="0"/>
            <a:chExt cx="6476813" cy="4013359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CE5EE67-8B21-4F87-8DFB-90B271741602}"/>
                </a:ext>
              </a:extLst>
            </p:cNvPr>
            <p:cNvSpPr/>
            <p:nvPr/>
          </p:nvSpPr>
          <p:spPr>
            <a:xfrm>
              <a:off x="12010873" y="2481044"/>
              <a:ext cx="181127" cy="594412"/>
            </a:xfrm>
            <a:custGeom>
              <a:avLst/>
              <a:gdLst>
                <a:gd name="connsiteX0" fmla="*/ 0 w 181127"/>
                <a:gd name="connsiteY0" fmla="*/ 0 h 594412"/>
                <a:gd name="connsiteX1" fmla="*/ 167647 w 181127"/>
                <a:gd name="connsiteY1" fmla="*/ 116845 h 594412"/>
                <a:gd name="connsiteX2" fmla="*/ 167647 w 181127"/>
                <a:gd name="connsiteY2" fmla="*/ 351169 h 594412"/>
                <a:gd name="connsiteX3" fmla="*/ 181127 w 181127"/>
                <a:gd name="connsiteY3" fmla="*/ 360544 h 594412"/>
                <a:gd name="connsiteX4" fmla="*/ 181127 w 181127"/>
                <a:gd name="connsiteY4" fmla="*/ 594412 h 594412"/>
                <a:gd name="connsiteX5" fmla="*/ 0 w 181127"/>
                <a:gd name="connsiteY5" fmla="*/ 468649 h 594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1127" h="594412">
                  <a:moveTo>
                    <a:pt x="0" y="0"/>
                  </a:moveTo>
                  <a:lnTo>
                    <a:pt x="167647" y="116845"/>
                  </a:lnTo>
                  <a:lnTo>
                    <a:pt x="167647" y="351169"/>
                  </a:lnTo>
                  <a:lnTo>
                    <a:pt x="181127" y="360544"/>
                  </a:lnTo>
                  <a:lnTo>
                    <a:pt x="181127" y="594412"/>
                  </a:lnTo>
                  <a:lnTo>
                    <a:pt x="0" y="46864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3080386-6680-4E93-BCAF-5CB175921301}"/>
                </a:ext>
              </a:extLst>
            </p:cNvPr>
            <p:cNvSpPr/>
            <p:nvPr/>
          </p:nvSpPr>
          <p:spPr>
            <a:xfrm>
              <a:off x="6565492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9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9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DDE16F9-C07D-4FEE-A6FA-A182F541F37F}"/>
                </a:ext>
              </a:extLst>
            </p:cNvPr>
            <p:cNvSpPr/>
            <p:nvPr userDrawn="1"/>
          </p:nvSpPr>
          <p:spPr>
            <a:xfrm>
              <a:off x="7246244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9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9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ED9A046-D24A-4E78-8501-42C19EA55EBA}"/>
                </a:ext>
              </a:extLst>
            </p:cNvPr>
            <p:cNvSpPr/>
            <p:nvPr userDrawn="1"/>
          </p:nvSpPr>
          <p:spPr>
            <a:xfrm>
              <a:off x="7926996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9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9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E60FD82-2BBC-408C-B3E9-46545477070B}"/>
                </a:ext>
              </a:extLst>
            </p:cNvPr>
            <p:cNvSpPr/>
            <p:nvPr/>
          </p:nvSpPr>
          <p:spPr>
            <a:xfrm>
              <a:off x="8607748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8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8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151714C-A962-44D7-8717-DBB0CAD4FB3C}"/>
                </a:ext>
              </a:extLst>
            </p:cNvPr>
            <p:cNvSpPr/>
            <p:nvPr/>
          </p:nvSpPr>
          <p:spPr>
            <a:xfrm>
              <a:off x="9288499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8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8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3221CAB-ED2A-48D3-9F40-870064BDA5BB}"/>
                </a:ext>
              </a:extLst>
            </p:cNvPr>
            <p:cNvSpPr/>
            <p:nvPr/>
          </p:nvSpPr>
          <p:spPr>
            <a:xfrm>
              <a:off x="9968617" y="1"/>
              <a:ext cx="337201" cy="344819"/>
            </a:xfrm>
            <a:custGeom>
              <a:avLst/>
              <a:gdLst>
                <a:gd name="connsiteX0" fmla="*/ 0 w 337201"/>
                <a:gd name="connsiteY0" fmla="*/ 0 h 344819"/>
                <a:gd name="connsiteX1" fmla="*/ 177413 w 337201"/>
                <a:gd name="connsiteY1" fmla="*/ 0 h 344819"/>
                <a:gd name="connsiteX2" fmla="*/ 337201 w 337201"/>
                <a:gd name="connsiteY2" fmla="*/ 111130 h 344819"/>
                <a:gd name="connsiteX3" fmla="*/ 337201 w 337201"/>
                <a:gd name="connsiteY3" fmla="*/ 344819 h 344819"/>
                <a:gd name="connsiteX4" fmla="*/ 0 w 337201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201" h="344819">
                  <a:moveTo>
                    <a:pt x="0" y="0"/>
                  </a:moveTo>
                  <a:lnTo>
                    <a:pt x="177413" y="0"/>
                  </a:lnTo>
                  <a:lnTo>
                    <a:pt x="337201" y="111130"/>
                  </a:lnTo>
                  <a:lnTo>
                    <a:pt x="337201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9CE638EA-11C9-4B89-AB99-E00CA5E130BD}"/>
                </a:ext>
              </a:extLst>
            </p:cNvPr>
            <p:cNvSpPr/>
            <p:nvPr/>
          </p:nvSpPr>
          <p:spPr>
            <a:xfrm>
              <a:off x="10649369" y="1"/>
              <a:ext cx="337201" cy="344819"/>
            </a:xfrm>
            <a:custGeom>
              <a:avLst/>
              <a:gdLst>
                <a:gd name="connsiteX0" fmla="*/ 0 w 337201"/>
                <a:gd name="connsiteY0" fmla="*/ 0 h 344819"/>
                <a:gd name="connsiteX1" fmla="*/ 177413 w 337201"/>
                <a:gd name="connsiteY1" fmla="*/ 0 h 344819"/>
                <a:gd name="connsiteX2" fmla="*/ 337201 w 337201"/>
                <a:gd name="connsiteY2" fmla="*/ 111130 h 344819"/>
                <a:gd name="connsiteX3" fmla="*/ 337201 w 337201"/>
                <a:gd name="connsiteY3" fmla="*/ 344819 h 344819"/>
                <a:gd name="connsiteX4" fmla="*/ 0 w 337201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201" h="344819">
                  <a:moveTo>
                    <a:pt x="0" y="0"/>
                  </a:moveTo>
                  <a:lnTo>
                    <a:pt x="177413" y="0"/>
                  </a:lnTo>
                  <a:lnTo>
                    <a:pt x="337201" y="111130"/>
                  </a:lnTo>
                  <a:lnTo>
                    <a:pt x="337201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6F13C4BA-3024-4FB0-9B6B-47A5B558035A}"/>
                </a:ext>
              </a:extLst>
            </p:cNvPr>
            <p:cNvSpPr/>
            <p:nvPr/>
          </p:nvSpPr>
          <p:spPr>
            <a:xfrm>
              <a:off x="11330120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8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8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36FBC37-DF57-46B8-9978-E944E3AA9B6A}"/>
                </a:ext>
              </a:extLst>
            </p:cNvPr>
            <p:cNvSpPr/>
            <p:nvPr/>
          </p:nvSpPr>
          <p:spPr>
            <a:xfrm>
              <a:off x="12010872" y="1"/>
              <a:ext cx="181128" cy="236893"/>
            </a:xfrm>
            <a:custGeom>
              <a:avLst/>
              <a:gdLst>
                <a:gd name="connsiteX0" fmla="*/ 0 w 181128"/>
                <a:gd name="connsiteY0" fmla="*/ 0 h 236893"/>
                <a:gd name="connsiteX1" fmla="*/ 176777 w 181128"/>
                <a:gd name="connsiteY1" fmla="*/ 0 h 236893"/>
                <a:gd name="connsiteX2" fmla="*/ 181128 w 181128"/>
                <a:gd name="connsiteY2" fmla="*/ 3026 h 236893"/>
                <a:gd name="connsiteX3" fmla="*/ 181128 w 181128"/>
                <a:gd name="connsiteY3" fmla="*/ 236893 h 236893"/>
                <a:gd name="connsiteX4" fmla="*/ 0 w 181128"/>
                <a:gd name="connsiteY4" fmla="*/ 111130 h 236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128" h="236893">
                  <a:moveTo>
                    <a:pt x="0" y="0"/>
                  </a:moveTo>
                  <a:lnTo>
                    <a:pt x="176777" y="0"/>
                  </a:lnTo>
                  <a:lnTo>
                    <a:pt x="181128" y="3026"/>
                  </a:lnTo>
                  <a:lnTo>
                    <a:pt x="181128" y="236893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C764A050-800F-4349-8A14-A6F0F97184CD}"/>
                </a:ext>
              </a:extLst>
            </p:cNvPr>
            <p:cNvSpPr/>
            <p:nvPr/>
          </p:nvSpPr>
          <p:spPr>
            <a:xfrm>
              <a:off x="12010873" y="1061762"/>
              <a:ext cx="181127" cy="594412"/>
            </a:xfrm>
            <a:custGeom>
              <a:avLst/>
              <a:gdLst>
                <a:gd name="connsiteX0" fmla="*/ 0 w 181127"/>
                <a:gd name="connsiteY0" fmla="*/ 0 h 594412"/>
                <a:gd name="connsiteX1" fmla="*/ 167647 w 181127"/>
                <a:gd name="connsiteY1" fmla="*/ 116845 h 594412"/>
                <a:gd name="connsiteX2" fmla="*/ 167647 w 181127"/>
                <a:gd name="connsiteY2" fmla="*/ 351169 h 594412"/>
                <a:gd name="connsiteX3" fmla="*/ 181127 w 181127"/>
                <a:gd name="connsiteY3" fmla="*/ 360544 h 594412"/>
                <a:gd name="connsiteX4" fmla="*/ 181127 w 181127"/>
                <a:gd name="connsiteY4" fmla="*/ 594412 h 594412"/>
                <a:gd name="connsiteX5" fmla="*/ 0 w 181127"/>
                <a:gd name="connsiteY5" fmla="*/ 468649 h 594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1127" h="594412">
                  <a:moveTo>
                    <a:pt x="0" y="0"/>
                  </a:moveTo>
                  <a:lnTo>
                    <a:pt x="167647" y="116845"/>
                  </a:lnTo>
                  <a:lnTo>
                    <a:pt x="167647" y="351169"/>
                  </a:lnTo>
                  <a:lnTo>
                    <a:pt x="181127" y="360544"/>
                  </a:lnTo>
                  <a:lnTo>
                    <a:pt x="181127" y="594412"/>
                  </a:lnTo>
                  <a:lnTo>
                    <a:pt x="0" y="46864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046F198D-5084-48A9-8C84-7DB2CEC8A4EC}"/>
                </a:ext>
              </a:extLst>
            </p:cNvPr>
            <p:cNvSpPr/>
            <p:nvPr/>
          </p:nvSpPr>
          <p:spPr>
            <a:xfrm>
              <a:off x="11841955" y="1771720"/>
              <a:ext cx="333390" cy="463568"/>
            </a:xfrm>
            <a:custGeom>
              <a:avLst/>
              <a:gdLst>
                <a:gd name="connsiteX0" fmla="*/ 166378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D89682F6-96A5-41BF-82A7-8041CD27DFCA}"/>
                </a:ext>
              </a:extLst>
            </p:cNvPr>
            <p:cNvSpPr/>
            <p:nvPr/>
          </p:nvSpPr>
          <p:spPr>
            <a:xfrm>
              <a:off x="11671767" y="1533586"/>
              <a:ext cx="520233" cy="351169"/>
            </a:xfrm>
            <a:custGeom>
              <a:avLst/>
              <a:gdLst>
                <a:gd name="connsiteX0" fmla="*/ 337201 w 520233"/>
                <a:gd name="connsiteY0" fmla="*/ 0 h 351169"/>
                <a:gd name="connsiteX1" fmla="*/ 520233 w 520233"/>
                <a:gd name="connsiteY1" fmla="*/ 127191 h 351169"/>
                <a:gd name="connsiteX2" fmla="*/ 520233 w 520233"/>
                <a:gd name="connsiteY2" fmla="*/ 341190 h 351169"/>
                <a:gd name="connsiteX3" fmla="*/ 506753 w 520233"/>
                <a:gd name="connsiteY3" fmla="*/ 350534 h 351169"/>
                <a:gd name="connsiteX4" fmla="*/ 338470 w 520233"/>
                <a:gd name="connsiteY4" fmla="*/ 234324 h 351169"/>
                <a:gd name="connsiteX5" fmla="*/ 337201 w 520233"/>
                <a:gd name="connsiteY5" fmla="*/ 233689 h 351169"/>
                <a:gd name="connsiteX6" fmla="*/ 168283 w 520233"/>
                <a:gd name="connsiteY6" fmla="*/ 351169 h 351169"/>
                <a:gd name="connsiteX7" fmla="*/ 0 w 520233"/>
                <a:gd name="connsiteY7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0233" h="351169">
                  <a:moveTo>
                    <a:pt x="337201" y="0"/>
                  </a:moveTo>
                  <a:lnTo>
                    <a:pt x="520233" y="127191"/>
                  </a:lnTo>
                  <a:lnTo>
                    <a:pt x="520233" y="341190"/>
                  </a:lnTo>
                  <a:lnTo>
                    <a:pt x="506753" y="350534"/>
                  </a:lnTo>
                  <a:lnTo>
                    <a:pt x="338470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0C05325F-FB04-4D3F-81DA-A8A1958800B0}"/>
                </a:ext>
              </a:extLst>
            </p:cNvPr>
            <p:cNvSpPr/>
            <p:nvPr/>
          </p:nvSpPr>
          <p:spPr>
            <a:xfrm>
              <a:off x="11670497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CEAF07ED-FD46-4A60-A12C-6191D530088B}"/>
                </a:ext>
              </a:extLst>
            </p:cNvPr>
            <p:cNvSpPr/>
            <p:nvPr/>
          </p:nvSpPr>
          <p:spPr>
            <a:xfrm>
              <a:off x="6225117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647D2024-98F1-4BD4-B343-DAD63E339990}"/>
                </a:ext>
              </a:extLst>
            </p:cNvPr>
            <p:cNvSpPr/>
            <p:nvPr/>
          </p:nvSpPr>
          <p:spPr>
            <a:xfrm>
              <a:off x="6905869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5E4F5D25-29A7-44F3-8A09-0B85AB758663}"/>
                </a:ext>
              </a:extLst>
            </p:cNvPr>
            <p:cNvSpPr/>
            <p:nvPr/>
          </p:nvSpPr>
          <p:spPr>
            <a:xfrm>
              <a:off x="7586621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1AE80838-AA85-408D-A5A3-57703C8D7194}"/>
                </a:ext>
              </a:extLst>
            </p:cNvPr>
            <p:cNvSpPr/>
            <p:nvPr/>
          </p:nvSpPr>
          <p:spPr>
            <a:xfrm>
              <a:off x="8267372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FD0A565E-C13F-4E69-81C4-EF204B972380}"/>
                </a:ext>
              </a:extLst>
            </p:cNvPr>
            <p:cNvSpPr/>
            <p:nvPr/>
          </p:nvSpPr>
          <p:spPr>
            <a:xfrm>
              <a:off x="8948124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59F79212-CAEE-4FFE-B3AB-0F52E40D66A7}"/>
                </a:ext>
              </a:extLst>
            </p:cNvPr>
            <p:cNvSpPr/>
            <p:nvPr/>
          </p:nvSpPr>
          <p:spPr>
            <a:xfrm>
              <a:off x="9628876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00B462F9-1955-491B-A597-8C3AB0118874}"/>
                </a:ext>
              </a:extLst>
            </p:cNvPr>
            <p:cNvSpPr/>
            <p:nvPr/>
          </p:nvSpPr>
          <p:spPr>
            <a:xfrm>
              <a:off x="10308993" y="352439"/>
              <a:ext cx="337201" cy="702338"/>
            </a:xfrm>
            <a:custGeom>
              <a:avLst/>
              <a:gdLst>
                <a:gd name="connsiteX0" fmla="*/ 168283 w 337201"/>
                <a:gd name="connsiteY0" fmla="*/ 116210 h 702338"/>
                <a:gd name="connsiteX1" fmla="*/ 168283 w 337201"/>
                <a:gd name="connsiteY1" fmla="*/ 351169 h 702338"/>
                <a:gd name="connsiteX2" fmla="*/ 337201 w 337201"/>
                <a:gd name="connsiteY2" fmla="*/ 468649 h 702338"/>
                <a:gd name="connsiteX3" fmla="*/ 337201 w 337201"/>
                <a:gd name="connsiteY3" fmla="*/ 702338 h 702338"/>
                <a:gd name="connsiteX4" fmla="*/ 0 w 337201"/>
                <a:gd name="connsiteY4" fmla="*/ 468014 h 702338"/>
                <a:gd name="connsiteX5" fmla="*/ 0 w 337201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1" h="702338">
                  <a:moveTo>
                    <a:pt x="168283" y="116210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D846CD6-9740-4A70-9C92-C1EF15D475DB}"/>
                </a:ext>
              </a:extLst>
            </p:cNvPr>
            <p:cNvSpPr/>
            <p:nvPr/>
          </p:nvSpPr>
          <p:spPr>
            <a:xfrm>
              <a:off x="10989745" y="352439"/>
              <a:ext cx="337200" cy="702338"/>
            </a:xfrm>
            <a:custGeom>
              <a:avLst/>
              <a:gdLst>
                <a:gd name="connsiteX0" fmla="*/ 168283 w 337200"/>
                <a:gd name="connsiteY0" fmla="*/ 116210 h 702338"/>
                <a:gd name="connsiteX1" fmla="*/ 168283 w 337200"/>
                <a:gd name="connsiteY1" fmla="*/ 351169 h 702338"/>
                <a:gd name="connsiteX2" fmla="*/ 337201 w 337200"/>
                <a:gd name="connsiteY2" fmla="*/ 468649 h 702338"/>
                <a:gd name="connsiteX3" fmla="*/ 337201 w 337200"/>
                <a:gd name="connsiteY3" fmla="*/ 702338 h 702338"/>
                <a:gd name="connsiteX4" fmla="*/ 0 w 337200"/>
                <a:gd name="connsiteY4" fmla="*/ 468014 h 702338"/>
                <a:gd name="connsiteX5" fmla="*/ 0 w 337200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8">
                  <a:moveTo>
                    <a:pt x="168283" y="116210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1E6B00F-6E1D-4F08-A671-8F4ED750732A}"/>
                </a:ext>
              </a:extLst>
            </p:cNvPr>
            <p:cNvSpPr/>
            <p:nvPr/>
          </p:nvSpPr>
          <p:spPr>
            <a:xfrm>
              <a:off x="11670497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CA6F2F23-1DBB-414D-88DC-583BB6E462CF}"/>
                </a:ext>
              </a:extLst>
            </p:cNvPr>
            <p:cNvSpPr/>
            <p:nvPr/>
          </p:nvSpPr>
          <p:spPr>
            <a:xfrm>
              <a:off x="11330121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24309412-4EAB-4705-8A4C-685D6C093D86}"/>
                </a:ext>
              </a:extLst>
            </p:cNvPr>
            <p:cNvSpPr/>
            <p:nvPr/>
          </p:nvSpPr>
          <p:spPr>
            <a:xfrm>
              <a:off x="11330121" y="2481044"/>
              <a:ext cx="336565" cy="702337"/>
            </a:xfrm>
            <a:custGeom>
              <a:avLst/>
              <a:gdLst>
                <a:gd name="connsiteX0" fmla="*/ 336566 w 336565"/>
                <a:gd name="connsiteY0" fmla="*/ 468649 h 702337"/>
                <a:gd name="connsiteX1" fmla="*/ 336566 w 336565"/>
                <a:gd name="connsiteY1" fmla="*/ 702338 h 702337"/>
                <a:gd name="connsiteX2" fmla="*/ 0 w 336565"/>
                <a:gd name="connsiteY2" fmla="*/ 468649 h 702337"/>
                <a:gd name="connsiteX3" fmla="*/ 0 w 336565"/>
                <a:gd name="connsiteY3" fmla="*/ 0 h 702337"/>
                <a:gd name="connsiteX4" fmla="*/ 167648 w 336565"/>
                <a:gd name="connsiteY4" fmla="*/ 116845 h 702337"/>
                <a:gd name="connsiteX5" fmla="*/ 167648 w 336565"/>
                <a:gd name="connsiteY5" fmla="*/ 351169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336566" y="468649"/>
                  </a:move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lnTo>
                    <a:pt x="167648" y="116845"/>
                  </a:lnTo>
                  <a:lnTo>
                    <a:pt x="167648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9C0B2DBC-C430-4A19-B026-9FA6F7202E01}"/>
                </a:ext>
              </a:extLst>
            </p:cNvPr>
            <p:cNvSpPr/>
            <p:nvPr/>
          </p:nvSpPr>
          <p:spPr>
            <a:xfrm>
              <a:off x="11670497" y="2717273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83167BB9-46CD-4709-911A-D1C7A6754A91}"/>
                </a:ext>
              </a:extLst>
            </p:cNvPr>
            <p:cNvSpPr/>
            <p:nvPr/>
          </p:nvSpPr>
          <p:spPr>
            <a:xfrm>
              <a:off x="11330121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BD647D22-9C60-44B8-9D3F-BBE643FADD9F}"/>
                </a:ext>
              </a:extLst>
            </p:cNvPr>
            <p:cNvSpPr/>
            <p:nvPr/>
          </p:nvSpPr>
          <p:spPr>
            <a:xfrm>
              <a:off x="5884741" y="588668"/>
              <a:ext cx="164472" cy="227974"/>
            </a:xfrm>
            <a:custGeom>
              <a:avLst/>
              <a:gdLst>
                <a:gd name="connsiteX0" fmla="*/ 164473 w 164472"/>
                <a:gd name="connsiteY0" fmla="*/ 114305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6D8CE189-30C4-4911-B40F-1FC72E907B5B}"/>
                </a:ext>
              </a:extLst>
            </p:cNvPr>
            <p:cNvSpPr/>
            <p:nvPr/>
          </p:nvSpPr>
          <p:spPr>
            <a:xfrm>
              <a:off x="5886011" y="824262"/>
              <a:ext cx="674401" cy="351169"/>
            </a:xfrm>
            <a:custGeom>
              <a:avLst/>
              <a:gdLst>
                <a:gd name="connsiteX0" fmla="*/ 337201 w 674401"/>
                <a:gd name="connsiteY0" fmla="*/ 0 h 351169"/>
                <a:gd name="connsiteX1" fmla="*/ 674402 w 674401"/>
                <a:gd name="connsiteY1" fmla="*/ 233689 h 351169"/>
                <a:gd name="connsiteX2" fmla="*/ 506754 w 674401"/>
                <a:gd name="connsiteY2" fmla="*/ 350534 h 351169"/>
                <a:gd name="connsiteX3" fmla="*/ 338471 w 674401"/>
                <a:gd name="connsiteY3" fmla="*/ 234324 h 351169"/>
                <a:gd name="connsiteX4" fmla="*/ 337201 w 674401"/>
                <a:gd name="connsiteY4" fmla="*/ 233689 h 351169"/>
                <a:gd name="connsiteX5" fmla="*/ 168283 w 674401"/>
                <a:gd name="connsiteY5" fmla="*/ 351169 h 351169"/>
                <a:gd name="connsiteX6" fmla="*/ 0 w 674401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7201" y="0"/>
                  </a:moveTo>
                  <a:lnTo>
                    <a:pt x="674402" y="233689"/>
                  </a:lnTo>
                  <a:lnTo>
                    <a:pt x="506754" y="350534"/>
                  </a:lnTo>
                  <a:lnTo>
                    <a:pt x="338471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7C4FBE59-F683-4E27-8E31-9228C4F0291C}"/>
                </a:ext>
              </a:extLst>
            </p:cNvPr>
            <p:cNvSpPr/>
            <p:nvPr/>
          </p:nvSpPr>
          <p:spPr>
            <a:xfrm>
              <a:off x="6565493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D519D4CC-4667-4937-AC8A-C1BE2B8F60F3}"/>
                </a:ext>
              </a:extLst>
            </p:cNvPr>
            <p:cNvSpPr/>
            <p:nvPr/>
          </p:nvSpPr>
          <p:spPr>
            <a:xfrm>
              <a:off x="6566763" y="824262"/>
              <a:ext cx="674401" cy="351169"/>
            </a:xfrm>
            <a:custGeom>
              <a:avLst/>
              <a:gdLst>
                <a:gd name="connsiteX0" fmla="*/ 337201 w 674401"/>
                <a:gd name="connsiteY0" fmla="*/ 0 h 351169"/>
                <a:gd name="connsiteX1" fmla="*/ 674402 w 674401"/>
                <a:gd name="connsiteY1" fmla="*/ 233689 h 351169"/>
                <a:gd name="connsiteX2" fmla="*/ 506754 w 674401"/>
                <a:gd name="connsiteY2" fmla="*/ 350534 h 351169"/>
                <a:gd name="connsiteX3" fmla="*/ 338471 w 674401"/>
                <a:gd name="connsiteY3" fmla="*/ 234324 h 351169"/>
                <a:gd name="connsiteX4" fmla="*/ 337201 w 674401"/>
                <a:gd name="connsiteY4" fmla="*/ 233689 h 351169"/>
                <a:gd name="connsiteX5" fmla="*/ 168283 w 674401"/>
                <a:gd name="connsiteY5" fmla="*/ 351169 h 351169"/>
                <a:gd name="connsiteX6" fmla="*/ 0 w 674401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7201" y="0"/>
                  </a:moveTo>
                  <a:lnTo>
                    <a:pt x="674402" y="233689"/>
                  </a:lnTo>
                  <a:lnTo>
                    <a:pt x="506754" y="350534"/>
                  </a:lnTo>
                  <a:lnTo>
                    <a:pt x="338471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3636842B-DCE3-4F08-85A2-DADA9D687C33}"/>
                </a:ext>
              </a:extLst>
            </p:cNvPr>
            <p:cNvSpPr/>
            <p:nvPr/>
          </p:nvSpPr>
          <p:spPr>
            <a:xfrm>
              <a:off x="7246245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3DA9BF26-63B9-4D35-9BBD-838100622B0D}"/>
                </a:ext>
              </a:extLst>
            </p:cNvPr>
            <p:cNvSpPr/>
            <p:nvPr/>
          </p:nvSpPr>
          <p:spPr>
            <a:xfrm>
              <a:off x="7247515" y="824262"/>
              <a:ext cx="674401" cy="351169"/>
            </a:xfrm>
            <a:custGeom>
              <a:avLst/>
              <a:gdLst>
                <a:gd name="connsiteX0" fmla="*/ 337201 w 674401"/>
                <a:gd name="connsiteY0" fmla="*/ 0 h 351169"/>
                <a:gd name="connsiteX1" fmla="*/ 674402 w 674401"/>
                <a:gd name="connsiteY1" fmla="*/ 233689 h 351169"/>
                <a:gd name="connsiteX2" fmla="*/ 506754 w 674401"/>
                <a:gd name="connsiteY2" fmla="*/ 350534 h 351169"/>
                <a:gd name="connsiteX3" fmla="*/ 337836 w 674401"/>
                <a:gd name="connsiteY3" fmla="*/ 234324 h 351169"/>
                <a:gd name="connsiteX4" fmla="*/ 337201 w 674401"/>
                <a:gd name="connsiteY4" fmla="*/ 233689 h 351169"/>
                <a:gd name="connsiteX5" fmla="*/ 168283 w 674401"/>
                <a:gd name="connsiteY5" fmla="*/ 351169 h 351169"/>
                <a:gd name="connsiteX6" fmla="*/ 0 w 674401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7201" y="0"/>
                  </a:moveTo>
                  <a:lnTo>
                    <a:pt x="674402" y="233689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3E6731B1-220D-481E-88A1-E81C15364115}"/>
                </a:ext>
              </a:extLst>
            </p:cNvPr>
            <p:cNvSpPr/>
            <p:nvPr/>
          </p:nvSpPr>
          <p:spPr>
            <a:xfrm>
              <a:off x="7926997" y="588668"/>
              <a:ext cx="163837" cy="227974"/>
            </a:xfrm>
            <a:custGeom>
              <a:avLst/>
              <a:gdLst>
                <a:gd name="connsiteX0" fmla="*/ 163838 w 163837"/>
                <a:gd name="connsiteY0" fmla="*/ 114305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B67BA01E-07D3-4CE3-8B5C-A032BAEA7BFD}"/>
                </a:ext>
              </a:extLst>
            </p:cNvPr>
            <p:cNvSpPr/>
            <p:nvPr/>
          </p:nvSpPr>
          <p:spPr>
            <a:xfrm>
              <a:off x="7928267" y="824262"/>
              <a:ext cx="674401" cy="351169"/>
            </a:xfrm>
            <a:custGeom>
              <a:avLst/>
              <a:gdLst>
                <a:gd name="connsiteX0" fmla="*/ 337201 w 674401"/>
                <a:gd name="connsiteY0" fmla="*/ 0 h 351169"/>
                <a:gd name="connsiteX1" fmla="*/ 674401 w 674401"/>
                <a:gd name="connsiteY1" fmla="*/ 233689 h 351169"/>
                <a:gd name="connsiteX2" fmla="*/ 506754 w 674401"/>
                <a:gd name="connsiteY2" fmla="*/ 350534 h 351169"/>
                <a:gd name="connsiteX3" fmla="*/ 337836 w 674401"/>
                <a:gd name="connsiteY3" fmla="*/ 234324 h 351169"/>
                <a:gd name="connsiteX4" fmla="*/ 337201 w 674401"/>
                <a:gd name="connsiteY4" fmla="*/ 233689 h 351169"/>
                <a:gd name="connsiteX5" fmla="*/ 168283 w 674401"/>
                <a:gd name="connsiteY5" fmla="*/ 351169 h 351169"/>
                <a:gd name="connsiteX6" fmla="*/ 0 w 674401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7201" y="0"/>
                  </a:moveTo>
                  <a:lnTo>
                    <a:pt x="674401" y="233689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6F9CA08F-42C7-4CFD-9F37-C10337C2F2AE}"/>
                </a:ext>
              </a:extLst>
            </p:cNvPr>
            <p:cNvSpPr/>
            <p:nvPr/>
          </p:nvSpPr>
          <p:spPr>
            <a:xfrm>
              <a:off x="8607749" y="588668"/>
              <a:ext cx="163837" cy="227974"/>
            </a:xfrm>
            <a:custGeom>
              <a:avLst/>
              <a:gdLst>
                <a:gd name="connsiteX0" fmla="*/ 163838 w 163837"/>
                <a:gd name="connsiteY0" fmla="*/ 114305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2BE5FE9D-21F9-4C4C-85BB-EEB31817DFC9}"/>
                </a:ext>
              </a:extLst>
            </p:cNvPr>
            <p:cNvSpPr/>
            <p:nvPr/>
          </p:nvSpPr>
          <p:spPr>
            <a:xfrm>
              <a:off x="8609018" y="824262"/>
              <a:ext cx="673766" cy="351169"/>
            </a:xfrm>
            <a:custGeom>
              <a:avLst/>
              <a:gdLst>
                <a:gd name="connsiteX0" fmla="*/ 337201 w 673766"/>
                <a:gd name="connsiteY0" fmla="*/ 0 h 351169"/>
                <a:gd name="connsiteX1" fmla="*/ 673767 w 673766"/>
                <a:gd name="connsiteY1" fmla="*/ 233689 h 351169"/>
                <a:gd name="connsiteX2" fmla="*/ 506119 w 673766"/>
                <a:gd name="connsiteY2" fmla="*/ 350534 h 351169"/>
                <a:gd name="connsiteX3" fmla="*/ 337836 w 673766"/>
                <a:gd name="connsiteY3" fmla="*/ 234324 h 351169"/>
                <a:gd name="connsiteX4" fmla="*/ 337201 w 673766"/>
                <a:gd name="connsiteY4" fmla="*/ 233689 h 351169"/>
                <a:gd name="connsiteX5" fmla="*/ 168283 w 673766"/>
                <a:gd name="connsiteY5" fmla="*/ 351169 h 351169"/>
                <a:gd name="connsiteX6" fmla="*/ 0 w 673766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337201" y="0"/>
                  </a:moveTo>
                  <a:lnTo>
                    <a:pt x="673767" y="233689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B18E07B5-5A05-46CF-AF1E-74FB011B05C1}"/>
                </a:ext>
              </a:extLst>
            </p:cNvPr>
            <p:cNvSpPr/>
            <p:nvPr/>
          </p:nvSpPr>
          <p:spPr>
            <a:xfrm>
              <a:off x="9288500" y="588668"/>
              <a:ext cx="163837" cy="227974"/>
            </a:xfrm>
            <a:custGeom>
              <a:avLst/>
              <a:gdLst>
                <a:gd name="connsiteX0" fmla="*/ 0 w 163837"/>
                <a:gd name="connsiteY0" fmla="*/ 0 h 227974"/>
                <a:gd name="connsiteX1" fmla="*/ 163838 w 163837"/>
                <a:gd name="connsiteY1" fmla="*/ 114305 h 227974"/>
                <a:gd name="connsiteX2" fmla="*/ 0 w 163837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0" y="0"/>
                  </a:moveTo>
                  <a:lnTo>
                    <a:pt x="163838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0B77125-FE0A-4BB8-AA32-C0C760E202CF}"/>
                </a:ext>
              </a:extLst>
            </p:cNvPr>
            <p:cNvSpPr/>
            <p:nvPr/>
          </p:nvSpPr>
          <p:spPr>
            <a:xfrm>
              <a:off x="9289770" y="824262"/>
              <a:ext cx="673766" cy="351169"/>
            </a:xfrm>
            <a:custGeom>
              <a:avLst/>
              <a:gdLst>
                <a:gd name="connsiteX0" fmla="*/ 337201 w 673766"/>
                <a:gd name="connsiteY0" fmla="*/ 0 h 351169"/>
                <a:gd name="connsiteX1" fmla="*/ 673767 w 673766"/>
                <a:gd name="connsiteY1" fmla="*/ 233689 h 351169"/>
                <a:gd name="connsiteX2" fmla="*/ 506119 w 673766"/>
                <a:gd name="connsiteY2" fmla="*/ 350534 h 351169"/>
                <a:gd name="connsiteX3" fmla="*/ 337836 w 673766"/>
                <a:gd name="connsiteY3" fmla="*/ 234324 h 351169"/>
                <a:gd name="connsiteX4" fmla="*/ 337201 w 673766"/>
                <a:gd name="connsiteY4" fmla="*/ 233689 h 351169"/>
                <a:gd name="connsiteX5" fmla="*/ 168283 w 673766"/>
                <a:gd name="connsiteY5" fmla="*/ 351169 h 351169"/>
                <a:gd name="connsiteX6" fmla="*/ 0 w 673766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337201" y="0"/>
                  </a:moveTo>
                  <a:lnTo>
                    <a:pt x="673767" y="233689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7F10CAC9-5E2F-4D4B-8762-1EE74B2EE4C7}"/>
                </a:ext>
              </a:extLst>
            </p:cNvPr>
            <p:cNvSpPr/>
            <p:nvPr/>
          </p:nvSpPr>
          <p:spPr>
            <a:xfrm>
              <a:off x="9968617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2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2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DA3B5C39-F1BB-4A8E-8E22-5D750A638332}"/>
                </a:ext>
              </a:extLst>
            </p:cNvPr>
            <p:cNvSpPr/>
            <p:nvPr/>
          </p:nvSpPr>
          <p:spPr>
            <a:xfrm>
              <a:off x="9970522" y="824262"/>
              <a:ext cx="673766" cy="351169"/>
            </a:xfrm>
            <a:custGeom>
              <a:avLst/>
              <a:gdLst>
                <a:gd name="connsiteX0" fmla="*/ 336566 w 673766"/>
                <a:gd name="connsiteY0" fmla="*/ 0 h 351169"/>
                <a:gd name="connsiteX1" fmla="*/ 673766 w 673766"/>
                <a:gd name="connsiteY1" fmla="*/ 233689 h 351169"/>
                <a:gd name="connsiteX2" fmla="*/ 506119 w 673766"/>
                <a:gd name="connsiteY2" fmla="*/ 350534 h 351169"/>
                <a:gd name="connsiteX3" fmla="*/ 337836 w 673766"/>
                <a:gd name="connsiteY3" fmla="*/ 234324 h 351169"/>
                <a:gd name="connsiteX4" fmla="*/ 336566 w 673766"/>
                <a:gd name="connsiteY4" fmla="*/ 233689 h 351169"/>
                <a:gd name="connsiteX5" fmla="*/ 168283 w 673766"/>
                <a:gd name="connsiteY5" fmla="*/ 351169 h 351169"/>
                <a:gd name="connsiteX6" fmla="*/ 0 w 673766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336566" y="0"/>
                  </a:moveTo>
                  <a:lnTo>
                    <a:pt x="673766" y="233689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6566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1C23EC0F-A6E1-40B6-884C-76B1582A16F8}"/>
                </a:ext>
              </a:extLst>
            </p:cNvPr>
            <p:cNvSpPr/>
            <p:nvPr/>
          </p:nvSpPr>
          <p:spPr>
            <a:xfrm>
              <a:off x="10649369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2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2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24328EBA-4DDC-4236-B440-BF0A104F46E2}"/>
                </a:ext>
              </a:extLst>
            </p:cNvPr>
            <p:cNvSpPr/>
            <p:nvPr/>
          </p:nvSpPr>
          <p:spPr>
            <a:xfrm>
              <a:off x="10651274" y="824262"/>
              <a:ext cx="673766" cy="351169"/>
            </a:xfrm>
            <a:custGeom>
              <a:avLst/>
              <a:gdLst>
                <a:gd name="connsiteX0" fmla="*/ 336565 w 673766"/>
                <a:gd name="connsiteY0" fmla="*/ 0 h 351169"/>
                <a:gd name="connsiteX1" fmla="*/ 673767 w 673766"/>
                <a:gd name="connsiteY1" fmla="*/ 233689 h 351169"/>
                <a:gd name="connsiteX2" fmla="*/ 506119 w 673766"/>
                <a:gd name="connsiteY2" fmla="*/ 350534 h 351169"/>
                <a:gd name="connsiteX3" fmla="*/ 337836 w 673766"/>
                <a:gd name="connsiteY3" fmla="*/ 234324 h 351169"/>
                <a:gd name="connsiteX4" fmla="*/ 336565 w 673766"/>
                <a:gd name="connsiteY4" fmla="*/ 233689 h 351169"/>
                <a:gd name="connsiteX5" fmla="*/ 168283 w 673766"/>
                <a:gd name="connsiteY5" fmla="*/ 351169 h 351169"/>
                <a:gd name="connsiteX6" fmla="*/ 0 w 673766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336565" y="0"/>
                  </a:moveTo>
                  <a:lnTo>
                    <a:pt x="673767" y="233689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6565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D90F04C2-DE22-476E-90B0-F39240F8C370}"/>
                </a:ext>
              </a:extLst>
            </p:cNvPr>
            <p:cNvSpPr/>
            <p:nvPr/>
          </p:nvSpPr>
          <p:spPr>
            <a:xfrm>
              <a:off x="11330121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83F901A7-A96D-4225-B56B-097F10BA4198}"/>
                </a:ext>
              </a:extLst>
            </p:cNvPr>
            <p:cNvSpPr/>
            <p:nvPr/>
          </p:nvSpPr>
          <p:spPr>
            <a:xfrm>
              <a:off x="11330121" y="1061762"/>
              <a:ext cx="336565" cy="702338"/>
            </a:xfrm>
            <a:custGeom>
              <a:avLst/>
              <a:gdLst>
                <a:gd name="connsiteX0" fmla="*/ 336566 w 336565"/>
                <a:gd name="connsiteY0" fmla="*/ 468649 h 702338"/>
                <a:gd name="connsiteX1" fmla="*/ 336566 w 336565"/>
                <a:gd name="connsiteY1" fmla="*/ 702338 h 702338"/>
                <a:gd name="connsiteX2" fmla="*/ 0 w 336565"/>
                <a:gd name="connsiteY2" fmla="*/ 468649 h 702338"/>
                <a:gd name="connsiteX3" fmla="*/ 0 w 336565"/>
                <a:gd name="connsiteY3" fmla="*/ 0 h 702338"/>
                <a:gd name="connsiteX4" fmla="*/ 167648 w 336565"/>
                <a:gd name="connsiteY4" fmla="*/ 116845 h 702338"/>
                <a:gd name="connsiteX5" fmla="*/ 167648 w 336565"/>
                <a:gd name="connsiteY5" fmla="*/ 351169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336566" y="468649"/>
                  </a:move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lnTo>
                    <a:pt x="167648" y="116845"/>
                  </a:lnTo>
                  <a:lnTo>
                    <a:pt x="167648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B8C23906-A74F-484F-B5D0-F8D1D70E416B}"/>
                </a:ext>
              </a:extLst>
            </p:cNvPr>
            <p:cNvSpPr/>
            <p:nvPr/>
          </p:nvSpPr>
          <p:spPr>
            <a:xfrm>
              <a:off x="11670497" y="1297991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617012FE-D9A3-40B2-917B-05B21C90D142}"/>
                </a:ext>
              </a:extLst>
            </p:cNvPr>
            <p:cNvSpPr/>
            <p:nvPr/>
          </p:nvSpPr>
          <p:spPr>
            <a:xfrm>
              <a:off x="5884741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AEF34A93-EB7C-48BD-B3A6-4C56EECA01A5}"/>
                </a:ext>
              </a:extLst>
            </p:cNvPr>
            <p:cNvSpPr/>
            <p:nvPr/>
          </p:nvSpPr>
          <p:spPr>
            <a:xfrm>
              <a:off x="6565493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8238E33-6A82-49C9-A952-76FDF8F1FE43}"/>
                </a:ext>
              </a:extLst>
            </p:cNvPr>
            <p:cNvSpPr/>
            <p:nvPr/>
          </p:nvSpPr>
          <p:spPr>
            <a:xfrm>
              <a:off x="7246245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25DF4D9B-EE59-4AD9-B375-3288C1C1B918}"/>
                </a:ext>
              </a:extLst>
            </p:cNvPr>
            <p:cNvSpPr/>
            <p:nvPr/>
          </p:nvSpPr>
          <p:spPr>
            <a:xfrm>
              <a:off x="7926997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FE180511-C746-4C16-A9B7-28A0EB58DCD4}"/>
                </a:ext>
              </a:extLst>
            </p:cNvPr>
            <p:cNvSpPr/>
            <p:nvPr/>
          </p:nvSpPr>
          <p:spPr>
            <a:xfrm>
              <a:off x="8607749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F35AF811-12BC-469A-805D-3D67E3B3FECF}"/>
                </a:ext>
              </a:extLst>
            </p:cNvPr>
            <p:cNvSpPr/>
            <p:nvPr/>
          </p:nvSpPr>
          <p:spPr>
            <a:xfrm>
              <a:off x="9288500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0C82A089-6B43-410E-8EB1-81A84B4636F9}"/>
                </a:ext>
              </a:extLst>
            </p:cNvPr>
            <p:cNvSpPr/>
            <p:nvPr/>
          </p:nvSpPr>
          <p:spPr>
            <a:xfrm>
              <a:off x="9968617" y="1061762"/>
              <a:ext cx="337200" cy="702338"/>
            </a:xfrm>
            <a:custGeom>
              <a:avLst/>
              <a:gdLst>
                <a:gd name="connsiteX0" fmla="*/ 168283 w 337200"/>
                <a:gd name="connsiteY0" fmla="*/ 116845 h 702338"/>
                <a:gd name="connsiteX1" fmla="*/ 168283 w 337200"/>
                <a:gd name="connsiteY1" fmla="*/ 351169 h 702338"/>
                <a:gd name="connsiteX2" fmla="*/ 337201 w 337200"/>
                <a:gd name="connsiteY2" fmla="*/ 468649 h 702338"/>
                <a:gd name="connsiteX3" fmla="*/ 337201 w 337200"/>
                <a:gd name="connsiteY3" fmla="*/ 702338 h 702338"/>
                <a:gd name="connsiteX4" fmla="*/ 0 w 337200"/>
                <a:gd name="connsiteY4" fmla="*/ 468649 h 702338"/>
                <a:gd name="connsiteX5" fmla="*/ 0 w 337200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8">
                  <a:moveTo>
                    <a:pt x="168283" y="116845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6A892B4-E765-440F-902C-C7B744380C77}"/>
                </a:ext>
              </a:extLst>
            </p:cNvPr>
            <p:cNvSpPr/>
            <p:nvPr/>
          </p:nvSpPr>
          <p:spPr>
            <a:xfrm>
              <a:off x="10649369" y="1061762"/>
              <a:ext cx="337200" cy="702338"/>
            </a:xfrm>
            <a:custGeom>
              <a:avLst/>
              <a:gdLst>
                <a:gd name="connsiteX0" fmla="*/ 168283 w 337200"/>
                <a:gd name="connsiteY0" fmla="*/ 116845 h 702338"/>
                <a:gd name="connsiteX1" fmla="*/ 168283 w 337200"/>
                <a:gd name="connsiteY1" fmla="*/ 351169 h 702338"/>
                <a:gd name="connsiteX2" fmla="*/ 337201 w 337200"/>
                <a:gd name="connsiteY2" fmla="*/ 468649 h 702338"/>
                <a:gd name="connsiteX3" fmla="*/ 337201 w 337200"/>
                <a:gd name="connsiteY3" fmla="*/ 702338 h 702338"/>
                <a:gd name="connsiteX4" fmla="*/ 0 w 337200"/>
                <a:gd name="connsiteY4" fmla="*/ 468649 h 702338"/>
                <a:gd name="connsiteX5" fmla="*/ 0 w 337200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8">
                  <a:moveTo>
                    <a:pt x="168283" y="116845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F8946D8A-C4D0-4B6B-BC13-9085E87B09A1}"/>
                </a:ext>
              </a:extLst>
            </p:cNvPr>
            <p:cNvSpPr/>
            <p:nvPr/>
          </p:nvSpPr>
          <p:spPr>
            <a:xfrm>
              <a:off x="10989745" y="1298626"/>
              <a:ext cx="336565" cy="465473"/>
            </a:xfrm>
            <a:custGeom>
              <a:avLst/>
              <a:gdLst>
                <a:gd name="connsiteX0" fmla="*/ 336566 w 336565"/>
                <a:gd name="connsiteY0" fmla="*/ 231784 h 465473"/>
                <a:gd name="connsiteX1" fmla="*/ 0 w 336565"/>
                <a:gd name="connsiteY1" fmla="*/ 465474 h 465473"/>
                <a:gd name="connsiteX2" fmla="*/ 0 w 336565"/>
                <a:gd name="connsiteY2" fmla="*/ 231784 h 465473"/>
                <a:gd name="connsiteX3" fmla="*/ 336566 w 336565"/>
                <a:gd name="connsiteY3" fmla="*/ 0 h 46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5473">
                  <a:moveTo>
                    <a:pt x="336566" y="231784"/>
                  </a:moveTo>
                  <a:lnTo>
                    <a:pt x="0" y="465474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411E3C16-5FC0-45F0-A5EE-F8279D9465BB}"/>
                </a:ext>
              </a:extLst>
            </p:cNvPr>
            <p:cNvSpPr/>
            <p:nvPr/>
          </p:nvSpPr>
          <p:spPr>
            <a:xfrm>
              <a:off x="10989745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23FB0399-8E5D-4D7E-A112-B96C75021B37}"/>
                </a:ext>
              </a:extLst>
            </p:cNvPr>
            <p:cNvSpPr/>
            <p:nvPr/>
          </p:nvSpPr>
          <p:spPr>
            <a:xfrm>
              <a:off x="6225117" y="1297991"/>
              <a:ext cx="164472" cy="227974"/>
            </a:xfrm>
            <a:custGeom>
              <a:avLst/>
              <a:gdLst>
                <a:gd name="connsiteX0" fmla="*/ 164473 w 164472"/>
                <a:gd name="connsiteY0" fmla="*/ 114940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1ECE2692-953B-4AC1-967A-07C2B9325CE9}"/>
                </a:ext>
              </a:extLst>
            </p:cNvPr>
            <p:cNvSpPr/>
            <p:nvPr/>
          </p:nvSpPr>
          <p:spPr>
            <a:xfrm>
              <a:off x="6226387" y="1533586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8471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8471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5EF41F3E-1ED1-4531-A78F-92ECADC62005}"/>
                </a:ext>
              </a:extLst>
            </p:cNvPr>
            <p:cNvSpPr/>
            <p:nvPr/>
          </p:nvSpPr>
          <p:spPr>
            <a:xfrm>
              <a:off x="6905869" y="1297991"/>
              <a:ext cx="164472" cy="227974"/>
            </a:xfrm>
            <a:custGeom>
              <a:avLst/>
              <a:gdLst>
                <a:gd name="connsiteX0" fmla="*/ 164473 w 164472"/>
                <a:gd name="connsiteY0" fmla="*/ 114940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243E3060-ACF3-4671-8363-605AE0C6E82B}"/>
                </a:ext>
              </a:extLst>
            </p:cNvPr>
            <p:cNvSpPr/>
            <p:nvPr/>
          </p:nvSpPr>
          <p:spPr>
            <a:xfrm>
              <a:off x="6907139" y="1533586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1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1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AC77EAC-09BC-4C0A-9631-F8E8A7601F2C}"/>
                </a:ext>
              </a:extLst>
            </p:cNvPr>
            <p:cNvSpPr/>
            <p:nvPr/>
          </p:nvSpPr>
          <p:spPr>
            <a:xfrm>
              <a:off x="7586621" y="1297991"/>
              <a:ext cx="163837" cy="227974"/>
            </a:xfrm>
            <a:custGeom>
              <a:avLst/>
              <a:gdLst>
                <a:gd name="connsiteX0" fmla="*/ 0 w 163837"/>
                <a:gd name="connsiteY0" fmla="*/ 0 h 227974"/>
                <a:gd name="connsiteX1" fmla="*/ 163838 w 163837"/>
                <a:gd name="connsiteY1" fmla="*/ 114940 h 227974"/>
                <a:gd name="connsiteX2" fmla="*/ 0 w 163837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0" y="0"/>
                  </a:moveTo>
                  <a:lnTo>
                    <a:pt x="163838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0A9BF34A-5F29-4331-A5A9-368590661D06}"/>
                </a:ext>
              </a:extLst>
            </p:cNvPr>
            <p:cNvSpPr/>
            <p:nvPr/>
          </p:nvSpPr>
          <p:spPr>
            <a:xfrm>
              <a:off x="7587891" y="1533586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E51A0FD3-1C0A-46B4-B0DC-683E6C961442}"/>
                </a:ext>
              </a:extLst>
            </p:cNvPr>
            <p:cNvSpPr/>
            <p:nvPr/>
          </p:nvSpPr>
          <p:spPr>
            <a:xfrm>
              <a:off x="8267372" y="1297991"/>
              <a:ext cx="163837" cy="227974"/>
            </a:xfrm>
            <a:custGeom>
              <a:avLst/>
              <a:gdLst>
                <a:gd name="connsiteX0" fmla="*/ 0 w 163837"/>
                <a:gd name="connsiteY0" fmla="*/ 0 h 227974"/>
                <a:gd name="connsiteX1" fmla="*/ 163838 w 163837"/>
                <a:gd name="connsiteY1" fmla="*/ 114940 h 227974"/>
                <a:gd name="connsiteX2" fmla="*/ 0 w 163837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0" y="0"/>
                  </a:moveTo>
                  <a:lnTo>
                    <a:pt x="163838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89A00A66-1ED0-4EE0-9A96-086FA9F03DEB}"/>
                </a:ext>
              </a:extLst>
            </p:cNvPr>
            <p:cNvSpPr/>
            <p:nvPr/>
          </p:nvSpPr>
          <p:spPr>
            <a:xfrm>
              <a:off x="8268643" y="1533586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432786C6-288E-4BEB-959D-0E1427BC8444}"/>
                </a:ext>
              </a:extLst>
            </p:cNvPr>
            <p:cNvSpPr/>
            <p:nvPr/>
          </p:nvSpPr>
          <p:spPr>
            <a:xfrm>
              <a:off x="8948124" y="1297991"/>
              <a:ext cx="163837" cy="227974"/>
            </a:xfrm>
            <a:custGeom>
              <a:avLst/>
              <a:gdLst>
                <a:gd name="connsiteX0" fmla="*/ 163838 w 163837"/>
                <a:gd name="connsiteY0" fmla="*/ 114940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D956F3A2-7473-4D7A-81E6-1A7935A3CBCD}"/>
                </a:ext>
              </a:extLst>
            </p:cNvPr>
            <p:cNvSpPr/>
            <p:nvPr/>
          </p:nvSpPr>
          <p:spPr>
            <a:xfrm>
              <a:off x="8949395" y="1533586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6 w 673766"/>
                <a:gd name="connsiteY1" fmla="*/ 234324 h 351168"/>
                <a:gd name="connsiteX2" fmla="*/ 506119 w 673766"/>
                <a:gd name="connsiteY2" fmla="*/ 350534 h 351168"/>
                <a:gd name="connsiteX3" fmla="*/ 337836 w 673766"/>
                <a:gd name="connsiteY3" fmla="*/ 234324 h 351168"/>
                <a:gd name="connsiteX4" fmla="*/ 337201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6" y="234324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5AD55FF9-7A83-49C4-8987-6B407213FD82}"/>
                </a:ext>
              </a:extLst>
            </p:cNvPr>
            <p:cNvSpPr/>
            <p:nvPr/>
          </p:nvSpPr>
          <p:spPr>
            <a:xfrm>
              <a:off x="9628876" y="1297991"/>
              <a:ext cx="163837" cy="227974"/>
            </a:xfrm>
            <a:custGeom>
              <a:avLst/>
              <a:gdLst>
                <a:gd name="connsiteX0" fmla="*/ 163838 w 163837"/>
                <a:gd name="connsiteY0" fmla="*/ 114940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CB1CA6EF-C90C-4F5E-83D6-5836FC356AC1}"/>
                </a:ext>
              </a:extLst>
            </p:cNvPr>
            <p:cNvSpPr/>
            <p:nvPr/>
          </p:nvSpPr>
          <p:spPr>
            <a:xfrm>
              <a:off x="9630146" y="1533586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6 w 673766"/>
                <a:gd name="connsiteY1" fmla="*/ 234324 h 351168"/>
                <a:gd name="connsiteX2" fmla="*/ 506118 w 673766"/>
                <a:gd name="connsiteY2" fmla="*/ 350534 h 351168"/>
                <a:gd name="connsiteX3" fmla="*/ 337836 w 673766"/>
                <a:gd name="connsiteY3" fmla="*/ 234324 h 351168"/>
                <a:gd name="connsiteX4" fmla="*/ 337201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6" y="234324"/>
                  </a:lnTo>
                  <a:lnTo>
                    <a:pt x="506118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67569F49-3B0E-4616-8E49-14DDF3711780}"/>
                </a:ext>
              </a:extLst>
            </p:cNvPr>
            <p:cNvSpPr/>
            <p:nvPr/>
          </p:nvSpPr>
          <p:spPr>
            <a:xfrm>
              <a:off x="10308993" y="1297991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ED7F85D0-1DC8-4D42-9601-1DF3EF1B1459}"/>
                </a:ext>
              </a:extLst>
            </p:cNvPr>
            <p:cNvSpPr/>
            <p:nvPr/>
          </p:nvSpPr>
          <p:spPr>
            <a:xfrm>
              <a:off x="10310898" y="1533586"/>
              <a:ext cx="673766" cy="351168"/>
            </a:xfrm>
            <a:custGeom>
              <a:avLst/>
              <a:gdLst>
                <a:gd name="connsiteX0" fmla="*/ 336566 w 673766"/>
                <a:gd name="connsiteY0" fmla="*/ 0 h 351168"/>
                <a:gd name="connsiteX1" fmla="*/ 673766 w 673766"/>
                <a:gd name="connsiteY1" fmla="*/ 234324 h 351168"/>
                <a:gd name="connsiteX2" fmla="*/ 506119 w 673766"/>
                <a:gd name="connsiteY2" fmla="*/ 350534 h 351168"/>
                <a:gd name="connsiteX3" fmla="*/ 337836 w 673766"/>
                <a:gd name="connsiteY3" fmla="*/ 234324 h 351168"/>
                <a:gd name="connsiteX4" fmla="*/ 336566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6566" y="0"/>
                  </a:moveTo>
                  <a:lnTo>
                    <a:pt x="673766" y="234324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6566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C4B2E9D1-3071-4E57-9223-9A98C4F952D9}"/>
                </a:ext>
              </a:extLst>
            </p:cNvPr>
            <p:cNvSpPr/>
            <p:nvPr/>
          </p:nvSpPr>
          <p:spPr>
            <a:xfrm>
              <a:off x="10989745" y="1297991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7F693C5B-0DF6-4E60-AABF-9C128C0A0F37}"/>
                </a:ext>
              </a:extLst>
            </p:cNvPr>
            <p:cNvSpPr/>
            <p:nvPr/>
          </p:nvSpPr>
          <p:spPr>
            <a:xfrm>
              <a:off x="10649369" y="2007950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0 w 337200"/>
                <a:gd name="connsiteY1" fmla="*/ 466109 h 466108"/>
                <a:gd name="connsiteX2" fmla="*/ 0 w 337200"/>
                <a:gd name="connsiteY2" fmla="*/ 232419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25E6A8BA-2AE0-449D-B1E5-F4620FA8F7E8}"/>
                </a:ext>
              </a:extLst>
            </p:cNvPr>
            <p:cNvSpPr/>
            <p:nvPr/>
          </p:nvSpPr>
          <p:spPr>
            <a:xfrm>
              <a:off x="10649369" y="2481044"/>
              <a:ext cx="337200" cy="702337"/>
            </a:xfrm>
            <a:custGeom>
              <a:avLst/>
              <a:gdLst>
                <a:gd name="connsiteX0" fmla="*/ 337201 w 337200"/>
                <a:gd name="connsiteY0" fmla="*/ 468649 h 702337"/>
                <a:gd name="connsiteX1" fmla="*/ 337201 w 337200"/>
                <a:gd name="connsiteY1" fmla="*/ 702338 h 702337"/>
                <a:gd name="connsiteX2" fmla="*/ 0 w 337200"/>
                <a:gd name="connsiteY2" fmla="*/ 468649 h 702337"/>
                <a:gd name="connsiteX3" fmla="*/ 0 w 337200"/>
                <a:gd name="connsiteY3" fmla="*/ 0 h 702337"/>
                <a:gd name="connsiteX4" fmla="*/ 168283 w 337200"/>
                <a:gd name="connsiteY4" fmla="*/ 116845 h 702337"/>
                <a:gd name="connsiteX5" fmla="*/ 168283 w 337200"/>
                <a:gd name="connsiteY5" fmla="*/ 351169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7">
                  <a:moveTo>
                    <a:pt x="337201" y="468649"/>
                  </a:moveTo>
                  <a:lnTo>
                    <a:pt x="337201" y="702338"/>
                  </a:lnTo>
                  <a:lnTo>
                    <a:pt x="0" y="468649"/>
                  </a:lnTo>
                  <a:lnTo>
                    <a:pt x="0" y="0"/>
                  </a:lnTo>
                  <a:lnTo>
                    <a:pt x="168283" y="116845"/>
                  </a:lnTo>
                  <a:lnTo>
                    <a:pt x="168283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C1ADDF2A-388B-4186-AD3F-0586B748E92C}"/>
                </a:ext>
              </a:extLst>
            </p:cNvPr>
            <p:cNvSpPr/>
            <p:nvPr/>
          </p:nvSpPr>
          <p:spPr>
            <a:xfrm>
              <a:off x="10989745" y="2717273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443CACCB-39E2-4EA8-AC99-9401646FDCB0}"/>
                </a:ext>
              </a:extLst>
            </p:cNvPr>
            <p:cNvSpPr/>
            <p:nvPr/>
          </p:nvSpPr>
          <p:spPr>
            <a:xfrm>
              <a:off x="10649369" y="3427232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0 w 337200"/>
                <a:gd name="connsiteY1" fmla="*/ 466108 h 466108"/>
                <a:gd name="connsiteX2" fmla="*/ 0 w 337200"/>
                <a:gd name="connsiteY2" fmla="*/ 231784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26C8C4B9-7425-4479-B651-308F9DD66200}"/>
                </a:ext>
              </a:extLst>
            </p:cNvPr>
            <p:cNvSpPr/>
            <p:nvPr/>
          </p:nvSpPr>
          <p:spPr>
            <a:xfrm>
              <a:off x="6225117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9B744EA5-A0DD-48CB-BD03-E3283B6C1FAB}"/>
                </a:ext>
              </a:extLst>
            </p:cNvPr>
            <p:cNvSpPr/>
            <p:nvPr/>
          </p:nvSpPr>
          <p:spPr>
            <a:xfrm>
              <a:off x="6905869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EC0FB516-189B-4E42-9CDF-C87020608F8C}"/>
                </a:ext>
              </a:extLst>
            </p:cNvPr>
            <p:cNvSpPr/>
            <p:nvPr/>
          </p:nvSpPr>
          <p:spPr>
            <a:xfrm>
              <a:off x="7586621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3CAD79AE-A908-419C-B3E9-6F3003319534}"/>
                </a:ext>
              </a:extLst>
            </p:cNvPr>
            <p:cNvSpPr/>
            <p:nvPr/>
          </p:nvSpPr>
          <p:spPr>
            <a:xfrm>
              <a:off x="8267372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F7334151-2D90-4AD6-93A6-5C9B540CE6A9}"/>
                </a:ext>
              </a:extLst>
            </p:cNvPr>
            <p:cNvSpPr/>
            <p:nvPr/>
          </p:nvSpPr>
          <p:spPr>
            <a:xfrm>
              <a:off x="8948124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9CD0CF71-D7D8-4F66-B05F-5534BA861FE8}"/>
                </a:ext>
              </a:extLst>
            </p:cNvPr>
            <p:cNvSpPr/>
            <p:nvPr/>
          </p:nvSpPr>
          <p:spPr>
            <a:xfrm>
              <a:off x="9628876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01CDDE50-8826-418D-BE3C-CE7FC5CF963E}"/>
                </a:ext>
              </a:extLst>
            </p:cNvPr>
            <p:cNvSpPr/>
            <p:nvPr/>
          </p:nvSpPr>
          <p:spPr>
            <a:xfrm>
              <a:off x="10308993" y="1771720"/>
              <a:ext cx="337201" cy="702338"/>
            </a:xfrm>
            <a:custGeom>
              <a:avLst/>
              <a:gdLst>
                <a:gd name="connsiteX0" fmla="*/ 168283 w 337201"/>
                <a:gd name="connsiteY0" fmla="*/ 116210 h 702338"/>
                <a:gd name="connsiteX1" fmla="*/ 168283 w 337201"/>
                <a:gd name="connsiteY1" fmla="*/ 351169 h 702338"/>
                <a:gd name="connsiteX2" fmla="*/ 337201 w 337201"/>
                <a:gd name="connsiteY2" fmla="*/ 468649 h 702338"/>
                <a:gd name="connsiteX3" fmla="*/ 337201 w 337201"/>
                <a:gd name="connsiteY3" fmla="*/ 702338 h 702338"/>
                <a:gd name="connsiteX4" fmla="*/ 0 w 337201"/>
                <a:gd name="connsiteY4" fmla="*/ 468014 h 702338"/>
                <a:gd name="connsiteX5" fmla="*/ 0 w 337201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1" h="702338">
                  <a:moveTo>
                    <a:pt x="168283" y="116210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CFC56595-95A9-4044-BEB7-338F22D1B63E}"/>
                </a:ext>
              </a:extLst>
            </p:cNvPr>
            <p:cNvSpPr/>
            <p:nvPr/>
          </p:nvSpPr>
          <p:spPr>
            <a:xfrm>
              <a:off x="5884741" y="2007950"/>
              <a:ext cx="164472" cy="227974"/>
            </a:xfrm>
            <a:custGeom>
              <a:avLst/>
              <a:gdLst>
                <a:gd name="connsiteX0" fmla="*/ 164473 w 164472"/>
                <a:gd name="connsiteY0" fmla="*/ 114305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C330D5F3-E30E-4C16-A64E-11AF52E979BD}"/>
                </a:ext>
              </a:extLst>
            </p:cNvPr>
            <p:cNvSpPr/>
            <p:nvPr/>
          </p:nvSpPr>
          <p:spPr>
            <a:xfrm>
              <a:off x="5886011" y="2242909"/>
              <a:ext cx="674401" cy="351804"/>
            </a:xfrm>
            <a:custGeom>
              <a:avLst/>
              <a:gdLst>
                <a:gd name="connsiteX0" fmla="*/ 337201 w 674401"/>
                <a:gd name="connsiteY0" fmla="*/ 0 h 351804"/>
                <a:gd name="connsiteX1" fmla="*/ 674402 w 674401"/>
                <a:gd name="connsiteY1" fmla="*/ 234324 h 351804"/>
                <a:gd name="connsiteX2" fmla="*/ 506754 w 674401"/>
                <a:gd name="connsiteY2" fmla="*/ 351169 h 351804"/>
                <a:gd name="connsiteX3" fmla="*/ 338471 w 674401"/>
                <a:gd name="connsiteY3" fmla="*/ 234959 h 351804"/>
                <a:gd name="connsiteX4" fmla="*/ 337201 w 674401"/>
                <a:gd name="connsiteY4" fmla="*/ 234324 h 351804"/>
                <a:gd name="connsiteX5" fmla="*/ 168283 w 674401"/>
                <a:gd name="connsiteY5" fmla="*/ 351804 h 351804"/>
                <a:gd name="connsiteX6" fmla="*/ 0 w 674401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8471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782BD340-55C8-47D4-92B8-8B2B97FC65F7}"/>
                </a:ext>
              </a:extLst>
            </p:cNvPr>
            <p:cNvSpPr/>
            <p:nvPr/>
          </p:nvSpPr>
          <p:spPr>
            <a:xfrm>
              <a:off x="6565493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305DA62D-3E8B-4444-9940-A06926FDB9CF}"/>
                </a:ext>
              </a:extLst>
            </p:cNvPr>
            <p:cNvSpPr/>
            <p:nvPr/>
          </p:nvSpPr>
          <p:spPr>
            <a:xfrm>
              <a:off x="6566763" y="2242909"/>
              <a:ext cx="674401" cy="351804"/>
            </a:xfrm>
            <a:custGeom>
              <a:avLst/>
              <a:gdLst>
                <a:gd name="connsiteX0" fmla="*/ 337201 w 674401"/>
                <a:gd name="connsiteY0" fmla="*/ 0 h 351804"/>
                <a:gd name="connsiteX1" fmla="*/ 674402 w 674401"/>
                <a:gd name="connsiteY1" fmla="*/ 234324 h 351804"/>
                <a:gd name="connsiteX2" fmla="*/ 506754 w 674401"/>
                <a:gd name="connsiteY2" fmla="*/ 351169 h 351804"/>
                <a:gd name="connsiteX3" fmla="*/ 338471 w 674401"/>
                <a:gd name="connsiteY3" fmla="*/ 234959 h 351804"/>
                <a:gd name="connsiteX4" fmla="*/ 337201 w 674401"/>
                <a:gd name="connsiteY4" fmla="*/ 234324 h 351804"/>
                <a:gd name="connsiteX5" fmla="*/ 168283 w 674401"/>
                <a:gd name="connsiteY5" fmla="*/ 351804 h 351804"/>
                <a:gd name="connsiteX6" fmla="*/ 0 w 674401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8471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4C31DF2A-3F35-4928-AE6F-FD139173A0FB}"/>
                </a:ext>
              </a:extLst>
            </p:cNvPr>
            <p:cNvSpPr/>
            <p:nvPr/>
          </p:nvSpPr>
          <p:spPr>
            <a:xfrm>
              <a:off x="7246245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033AB131-8015-4D37-8013-5F2C1AF3203E}"/>
                </a:ext>
              </a:extLst>
            </p:cNvPr>
            <p:cNvSpPr/>
            <p:nvPr/>
          </p:nvSpPr>
          <p:spPr>
            <a:xfrm>
              <a:off x="7247515" y="2242909"/>
              <a:ext cx="674401" cy="351804"/>
            </a:xfrm>
            <a:custGeom>
              <a:avLst/>
              <a:gdLst>
                <a:gd name="connsiteX0" fmla="*/ 337201 w 674401"/>
                <a:gd name="connsiteY0" fmla="*/ 0 h 351804"/>
                <a:gd name="connsiteX1" fmla="*/ 674402 w 674401"/>
                <a:gd name="connsiteY1" fmla="*/ 234324 h 351804"/>
                <a:gd name="connsiteX2" fmla="*/ 506754 w 674401"/>
                <a:gd name="connsiteY2" fmla="*/ 351169 h 351804"/>
                <a:gd name="connsiteX3" fmla="*/ 337836 w 674401"/>
                <a:gd name="connsiteY3" fmla="*/ 234959 h 351804"/>
                <a:gd name="connsiteX4" fmla="*/ 337201 w 674401"/>
                <a:gd name="connsiteY4" fmla="*/ 234324 h 351804"/>
                <a:gd name="connsiteX5" fmla="*/ 168283 w 674401"/>
                <a:gd name="connsiteY5" fmla="*/ 351804 h 351804"/>
                <a:gd name="connsiteX6" fmla="*/ 0 w 674401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299B9582-93C4-45E7-A59E-31617D1D3020}"/>
                </a:ext>
              </a:extLst>
            </p:cNvPr>
            <p:cNvSpPr/>
            <p:nvPr/>
          </p:nvSpPr>
          <p:spPr>
            <a:xfrm>
              <a:off x="7926997" y="2007950"/>
              <a:ext cx="163837" cy="227974"/>
            </a:xfrm>
            <a:custGeom>
              <a:avLst/>
              <a:gdLst>
                <a:gd name="connsiteX0" fmla="*/ 163838 w 163837"/>
                <a:gd name="connsiteY0" fmla="*/ 114305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DD141CE6-D000-4C34-AAED-AC6ADC543E23}"/>
                </a:ext>
              </a:extLst>
            </p:cNvPr>
            <p:cNvSpPr/>
            <p:nvPr/>
          </p:nvSpPr>
          <p:spPr>
            <a:xfrm>
              <a:off x="7928267" y="2242909"/>
              <a:ext cx="674401" cy="351804"/>
            </a:xfrm>
            <a:custGeom>
              <a:avLst/>
              <a:gdLst>
                <a:gd name="connsiteX0" fmla="*/ 337201 w 674401"/>
                <a:gd name="connsiteY0" fmla="*/ 0 h 351804"/>
                <a:gd name="connsiteX1" fmla="*/ 674401 w 674401"/>
                <a:gd name="connsiteY1" fmla="*/ 234324 h 351804"/>
                <a:gd name="connsiteX2" fmla="*/ 506754 w 674401"/>
                <a:gd name="connsiteY2" fmla="*/ 351169 h 351804"/>
                <a:gd name="connsiteX3" fmla="*/ 337836 w 674401"/>
                <a:gd name="connsiteY3" fmla="*/ 234959 h 351804"/>
                <a:gd name="connsiteX4" fmla="*/ 337201 w 674401"/>
                <a:gd name="connsiteY4" fmla="*/ 234324 h 351804"/>
                <a:gd name="connsiteX5" fmla="*/ 168283 w 674401"/>
                <a:gd name="connsiteY5" fmla="*/ 351804 h 351804"/>
                <a:gd name="connsiteX6" fmla="*/ 0 w 674401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7201" y="0"/>
                  </a:moveTo>
                  <a:lnTo>
                    <a:pt x="674401" y="234324"/>
                  </a:lnTo>
                  <a:lnTo>
                    <a:pt x="506754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13B89D51-61C9-47E3-9D41-42A55AC37292}"/>
                </a:ext>
              </a:extLst>
            </p:cNvPr>
            <p:cNvSpPr/>
            <p:nvPr/>
          </p:nvSpPr>
          <p:spPr>
            <a:xfrm>
              <a:off x="8607749" y="2007950"/>
              <a:ext cx="163837" cy="227974"/>
            </a:xfrm>
            <a:custGeom>
              <a:avLst/>
              <a:gdLst>
                <a:gd name="connsiteX0" fmla="*/ 163838 w 163837"/>
                <a:gd name="connsiteY0" fmla="*/ 114305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325920DF-F3A8-4F16-905C-3122D1E2B44D}"/>
                </a:ext>
              </a:extLst>
            </p:cNvPr>
            <p:cNvSpPr/>
            <p:nvPr/>
          </p:nvSpPr>
          <p:spPr>
            <a:xfrm>
              <a:off x="8609018" y="2242909"/>
              <a:ext cx="673766" cy="351804"/>
            </a:xfrm>
            <a:custGeom>
              <a:avLst/>
              <a:gdLst>
                <a:gd name="connsiteX0" fmla="*/ 337201 w 673766"/>
                <a:gd name="connsiteY0" fmla="*/ 0 h 351804"/>
                <a:gd name="connsiteX1" fmla="*/ 673767 w 673766"/>
                <a:gd name="connsiteY1" fmla="*/ 234324 h 351804"/>
                <a:gd name="connsiteX2" fmla="*/ 506119 w 673766"/>
                <a:gd name="connsiteY2" fmla="*/ 351169 h 351804"/>
                <a:gd name="connsiteX3" fmla="*/ 337836 w 673766"/>
                <a:gd name="connsiteY3" fmla="*/ 234959 h 351804"/>
                <a:gd name="connsiteX4" fmla="*/ 337201 w 673766"/>
                <a:gd name="connsiteY4" fmla="*/ 234324 h 351804"/>
                <a:gd name="connsiteX5" fmla="*/ 168283 w 673766"/>
                <a:gd name="connsiteY5" fmla="*/ 351804 h 351804"/>
                <a:gd name="connsiteX6" fmla="*/ 0 w 673766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804">
                  <a:moveTo>
                    <a:pt x="337201" y="0"/>
                  </a:moveTo>
                  <a:lnTo>
                    <a:pt x="673767" y="234324"/>
                  </a:lnTo>
                  <a:lnTo>
                    <a:pt x="506119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1F934023-089F-4239-B5D8-F8BEAD47DB37}"/>
                </a:ext>
              </a:extLst>
            </p:cNvPr>
            <p:cNvSpPr/>
            <p:nvPr/>
          </p:nvSpPr>
          <p:spPr>
            <a:xfrm>
              <a:off x="9288500" y="2007950"/>
              <a:ext cx="163837" cy="227339"/>
            </a:xfrm>
            <a:custGeom>
              <a:avLst/>
              <a:gdLst>
                <a:gd name="connsiteX0" fmla="*/ 0 w 163837"/>
                <a:gd name="connsiteY0" fmla="*/ 0 h 227339"/>
                <a:gd name="connsiteX1" fmla="*/ 163838 w 163837"/>
                <a:gd name="connsiteY1" fmla="*/ 114305 h 227339"/>
                <a:gd name="connsiteX2" fmla="*/ 0 w 163837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339">
                  <a:moveTo>
                    <a:pt x="0" y="0"/>
                  </a:moveTo>
                  <a:lnTo>
                    <a:pt x="163838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D759BE44-28FC-41D3-8C50-F468A5FFB64D}"/>
                </a:ext>
              </a:extLst>
            </p:cNvPr>
            <p:cNvSpPr/>
            <p:nvPr/>
          </p:nvSpPr>
          <p:spPr>
            <a:xfrm>
              <a:off x="9289770" y="2242909"/>
              <a:ext cx="673766" cy="351804"/>
            </a:xfrm>
            <a:custGeom>
              <a:avLst/>
              <a:gdLst>
                <a:gd name="connsiteX0" fmla="*/ 337201 w 673766"/>
                <a:gd name="connsiteY0" fmla="*/ 0 h 351804"/>
                <a:gd name="connsiteX1" fmla="*/ 673767 w 673766"/>
                <a:gd name="connsiteY1" fmla="*/ 234324 h 351804"/>
                <a:gd name="connsiteX2" fmla="*/ 506119 w 673766"/>
                <a:gd name="connsiteY2" fmla="*/ 351169 h 351804"/>
                <a:gd name="connsiteX3" fmla="*/ 337836 w 673766"/>
                <a:gd name="connsiteY3" fmla="*/ 234959 h 351804"/>
                <a:gd name="connsiteX4" fmla="*/ 337201 w 673766"/>
                <a:gd name="connsiteY4" fmla="*/ 234324 h 351804"/>
                <a:gd name="connsiteX5" fmla="*/ 168283 w 673766"/>
                <a:gd name="connsiteY5" fmla="*/ 351804 h 351804"/>
                <a:gd name="connsiteX6" fmla="*/ 0 w 673766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804">
                  <a:moveTo>
                    <a:pt x="337201" y="0"/>
                  </a:moveTo>
                  <a:lnTo>
                    <a:pt x="673767" y="234324"/>
                  </a:lnTo>
                  <a:lnTo>
                    <a:pt x="506119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8BDA129B-34BF-4C48-A1FB-FE16A8646049}"/>
                </a:ext>
              </a:extLst>
            </p:cNvPr>
            <p:cNvSpPr/>
            <p:nvPr/>
          </p:nvSpPr>
          <p:spPr>
            <a:xfrm>
              <a:off x="9968617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B2510271-CBAA-4CC6-BC87-13A4440156B9}"/>
                </a:ext>
              </a:extLst>
            </p:cNvPr>
            <p:cNvSpPr/>
            <p:nvPr/>
          </p:nvSpPr>
          <p:spPr>
            <a:xfrm>
              <a:off x="9970522" y="2242909"/>
              <a:ext cx="673766" cy="351804"/>
            </a:xfrm>
            <a:custGeom>
              <a:avLst/>
              <a:gdLst>
                <a:gd name="connsiteX0" fmla="*/ 336566 w 673766"/>
                <a:gd name="connsiteY0" fmla="*/ 0 h 351804"/>
                <a:gd name="connsiteX1" fmla="*/ 673766 w 673766"/>
                <a:gd name="connsiteY1" fmla="*/ 234324 h 351804"/>
                <a:gd name="connsiteX2" fmla="*/ 506119 w 673766"/>
                <a:gd name="connsiteY2" fmla="*/ 351169 h 351804"/>
                <a:gd name="connsiteX3" fmla="*/ 337836 w 673766"/>
                <a:gd name="connsiteY3" fmla="*/ 234959 h 351804"/>
                <a:gd name="connsiteX4" fmla="*/ 336566 w 673766"/>
                <a:gd name="connsiteY4" fmla="*/ 234324 h 351804"/>
                <a:gd name="connsiteX5" fmla="*/ 168283 w 673766"/>
                <a:gd name="connsiteY5" fmla="*/ 351804 h 351804"/>
                <a:gd name="connsiteX6" fmla="*/ 0 w 673766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804">
                  <a:moveTo>
                    <a:pt x="336566" y="0"/>
                  </a:moveTo>
                  <a:lnTo>
                    <a:pt x="673766" y="234324"/>
                  </a:lnTo>
                  <a:lnTo>
                    <a:pt x="506119" y="351169"/>
                  </a:lnTo>
                  <a:lnTo>
                    <a:pt x="337836" y="234959"/>
                  </a:lnTo>
                  <a:lnTo>
                    <a:pt x="336566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32248F2F-4F58-4B95-9DB5-83046F1408B8}"/>
                </a:ext>
              </a:extLst>
            </p:cNvPr>
            <p:cNvSpPr/>
            <p:nvPr/>
          </p:nvSpPr>
          <p:spPr>
            <a:xfrm>
              <a:off x="10308993" y="2717273"/>
              <a:ext cx="337201" cy="466108"/>
            </a:xfrm>
            <a:custGeom>
              <a:avLst/>
              <a:gdLst>
                <a:gd name="connsiteX0" fmla="*/ 337201 w 337201"/>
                <a:gd name="connsiteY0" fmla="*/ 232419 h 466108"/>
                <a:gd name="connsiteX1" fmla="*/ 0 w 337201"/>
                <a:gd name="connsiteY1" fmla="*/ 466109 h 466108"/>
                <a:gd name="connsiteX2" fmla="*/ 0 w 337201"/>
                <a:gd name="connsiteY2" fmla="*/ 232419 h 466108"/>
                <a:gd name="connsiteX3" fmla="*/ 337201 w 337201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1" h="466108">
                  <a:moveTo>
                    <a:pt x="337201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DC50E18B-F19A-4CFF-AC12-071B40EAAC93}"/>
                </a:ext>
              </a:extLst>
            </p:cNvPr>
            <p:cNvSpPr/>
            <p:nvPr/>
          </p:nvSpPr>
          <p:spPr>
            <a:xfrm>
              <a:off x="5884741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3CE00540-4227-41C0-AD1F-68B5936D35EB}"/>
                </a:ext>
              </a:extLst>
            </p:cNvPr>
            <p:cNvSpPr/>
            <p:nvPr/>
          </p:nvSpPr>
          <p:spPr>
            <a:xfrm>
              <a:off x="6565493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55EFD218-9869-495E-AD61-860397277F65}"/>
                </a:ext>
              </a:extLst>
            </p:cNvPr>
            <p:cNvSpPr/>
            <p:nvPr/>
          </p:nvSpPr>
          <p:spPr>
            <a:xfrm>
              <a:off x="7246245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86D3FFB9-CD19-4B38-8C4D-FE7250BA4220}"/>
                </a:ext>
              </a:extLst>
            </p:cNvPr>
            <p:cNvSpPr/>
            <p:nvPr/>
          </p:nvSpPr>
          <p:spPr>
            <a:xfrm>
              <a:off x="7926997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DCB12E43-EDEE-42E1-8DCB-2780B2BE36CD}"/>
                </a:ext>
              </a:extLst>
            </p:cNvPr>
            <p:cNvSpPr/>
            <p:nvPr/>
          </p:nvSpPr>
          <p:spPr>
            <a:xfrm>
              <a:off x="8607749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ED96145D-F364-4FA7-9A14-D1ABAE38FB39}"/>
                </a:ext>
              </a:extLst>
            </p:cNvPr>
            <p:cNvSpPr/>
            <p:nvPr/>
          </p:nvSpPr>
          <p:spPr>
            <a:xfrm>
              <a:off x="9288500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7AE77DD9-96FE-4C7A-A814-29E2013D8011}"/>
                </a:ext>
              </a:extLst>
            </p:cNvPr>
            <p:cNvSpPr/>
            <p:nvPr/>
          </p:nvSpPr>
          <p:spPr>
            <a:xfrm>
              <a:off x="9968617" y="2481044"/>
              <a:ext cx="337200" cy="702337"/>
            </a:xfrm>
            <a:custGeom>
              <a:avLst/>
              <a:gdLst>
                <a:gd name="connsiteX0" fmla="*/ 168283 w 337200"/>
                <a:gd name="connsiteY0" fmla="*/ 116845 h 702337"/>
                <a:gd name="connsiteX1" fmla="*/ 168283 w 337200"/>
                <a:gd name="connsiteY1" fmla="*/ 351169 h 702337"/>
                <a:gd name="connsiteX2" fmla="*/ 337201 w 337200"/>
                <a:gd name="connsiteY2" fmla="*/ 468649 h 702337"/>
                <a:gd name="connsiteX3" fmla="*/ 337201 w 337200"/>
                <a:gd name="connsiteY3" fmla="*/ 702338 h 702337"/>
                <a:gd name="connsiteX4" fmla="*/ 0 w 337200"/>
                <a:gd name="connsiteY4" fmla="*/ 468649 h 702337"/>
                <a:gd name="connsiteX5" fmla="*/ 0 w 337200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7">
                  <a:moveTo>
                    <a:pt x="168283" y="116845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53E11C83-5B65-40E3-B352-E004406309AC}"/>
                </a:ext>
              </a:extLst>
            </p:cNvPr>
            <p:cNvSpPr/>
            <p:nvPr/>
          </p:nvSpPr>
          <p:spPr>
            <a:xfrm>
              <a:off x="10308993" y="2717273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6E1DBF3-84FA-402E-9E19-09A3560CCCFB}"/>
                </a:ext>
              </a:extLst>
            </p:cNvPr>
            <p:cNvSpPr/>
            <p:nvPr/>
          </p:nvSpPr>
          <p:spPr>
            <a:xfrm>
              <a:off x="9968617" y="3427232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635 w 337200"/>
                <a:gd name="connsiteY1" fmla="*/ 466108 h 466108"/>
                <a:gd name="connsiteX2" fmla="*/ 0 w 337200"/>
                <a:gd name="connsiteY2" fmla="*/ 231784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635" y="466108"/>
                  </a:lnTo>
                  <a:lnTo>
                    <a:pt x="0" y="231784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7CA5F8E1-F2CF-45CF-B32F-378A09914289}"/>
                </a:ext>
              </a:extLst>
            </p:cNvPr>
            <p:cNvSpPr/>
            <p:nvPr/>
          </p:nvSpPr>
          <p:spPr>
            <a:xfrm>
              <a:off x="6225117" y="2717273"/>
              <a:ext cx="164472" cy="227974"/>
            </a:xfrm>
            <a:custGeom>
              <a:avLst/>
              <a:gdLst>
                <a:gd name="connsiteX0" fmla="*/ 164473 w 164472"/>
                <a:gd name="connsiteY0" fmla="*/ 114940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C827B525-BAAD-415A-844C-438FA2C616B6}"/>
                </a:ext>
              </a:extLst>
            </p:cNvPr>
            <p:cNvSpPr/>
            <p:nvPr/>
          </p:nvSpPr>
          <p:spPr>
            <a:xfrm>
              <a:off x="6226387" y="2952868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8471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8471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B9182623-8EE2-4FAB-A33F-DE36638F85B4}"/>
                </a:ext>
              </a:extLst>
            </p:cNvPr>
            <p:cNvSpPr/>
            <p:nvPr/>
          </p:nvSpPr>
          <p:spPr>
            <a:xfrm>
              <a:off x="6905869" y="2717273"/>
              <a:ext cx="164472" cy="227974"/>
            </a:xfrm>
            <a:custGeom>
              <a:avLst/>
              <a:gdLst>
                <a:gd name="connsiteX0" fmla="*/ 164473 w 164472"/>
                <a:gd name="connsiteY0" fmla="*/ 114940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C14EA703-DDD1-445F-8CD5-0F5E5B8416BA}"/>
                </a:ext>
              </a:extLst>
            </p:cNvPr>
            <p:cNvSpPr/>
            <p:nvPr/>
          </p:nvSpPr>
          <p:spPr>
            <a:xfrm>
              <a:off x="6907139" y="2952868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1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1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656AF480-FF2E-4FAD-9EC4-B0AA3D7F9571}"/>
                </a:ext>
              </a:extLst>
            </p:cNvPr>
            <p:cNvSpPr/>
            <p:nvPr/>
          </p:nvSpPr>
          <p:spPr>
            <a:xfrm>
              <a:off x="7586621" y="2717273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C4D952BF-2AA5-49E2-8574-91E84C6D103B}"/>
                </a:ext>
              </a:extLst>
            </p:cNvPr>
            <p:cNvSpPr/>
            <p:nvPr/>
          </p:nvSpPr>
          <p:spPr>
            <a:xfrm>
              <a:off x="7587891" y="2952868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9CF4C8FC-76FE-4349-911B-472FD131DFFB}"/>
                </a:ext>
              </a:extLst>
            </p:cNvPr>
            <p:cNvSpPr/>
            <p:nvPr/>
          </p:nvSpPr>
          <p:spPr>
            <a:xfrm>
              <a:off x="8267372" y="2717273"/>
              <a:ext cx="163837" cy="227974"/>
            </a:xfrm>
            <a:custGeom>
              <a:avLst/>
              <a:gdLst>
                <a:gd name="connsiteX0" fmla="*/ 0 w 163837"/>
                <a:gd name="connsiteY0" fmla="*/ 0 h 227974"/>
                <a:gd name="connsiteX1" fmla="*/ 163838 w 163837"/>
                <a:gd name="connsiteY1" fmla="*/ 114940 h 227974"/>
                <a:gd name="connsiteX2" fmla="*/ 0 w 163837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0" y="0"/>
                  </a:moveTo>
                  <a:lnTo>
                    <a:pt x="163838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15852022-E13D-461C-B03B-B9785E4224BE}"/>
                </a:ext>
              </a:extLst>
            </p:cNvPr>
            <p:cNvSpPr/>
            <p:nvPr/>
          </p:nvSpPr>
          <p:spPr>
            <a:xfrm>
              <a:off x="8268643" y="2952868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9DCB2652-C20B-4A50-9717-F307D4448256}"/>
                </a:ext>
              </a:extLst>
            </p:cNvPr>
            <p:cNvSpPr/>
            <p:nvPr/>
          </p:nvSpPr>
          <p:spPr>
            <a:xfrm>
              <a:off x="8948124" y="2717273"/>
              <a:ext cx="163837" cy="227974"/>
            </a:xfrm>
            <a:custGeom>
              <a:avLst/>
              <a:gdLst>
                <a:gd name="connsiteX0" fmla="*/ 163838 w 163837"/>
                <a:gd name="connsiteY0" fmla="*/ 114940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20DDCA67-7550-4725-96AE-AAC68D69ECCE}"/>
                </a:ext>
              </a:extLst>
            </p:cNvPr>
            <p:cNvSpPr/>
            <p:nvPr/>
          </p:nvSpPr>
          <p:spPr>
            <a:xfrm>
              <a:off x="8949395" y="2952868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6 w 673766"/>
                <a:gd name="connsiteY1" fmla="*/ 234324 h 351168"/>
                <a:gd name="connsiteX2" fmla="*/ 506119 w 673766"/>
                <a:gd name="connsiteY2" fmla="*/ 350534 h 351168"/>
                <a:gd name="connsiteX3" fmla="*/ 337836 w 673766"/>
                <a:gd name="connsiteY3" fmla="*/ 234324 h 351168"/>
                <a:gd name="connsiteX4" fmla="*/ 337201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6" y="234324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9C4A2BD7-A29F-43FD-A0D0-EA3CFF8A676D}"/>
                </a:ext>
              </a:extLst>
            </p:cNvPr>
            <p:cNvSpPr/>
            <p:nvPr/>
          </p:nvSpPr>
          <p:spPr>
            <a:xfrm>
              <a:off x="9628876" y="2717273"/>
              <a:ext cx="163837" cy="227974"/>
            </a:xfrm>
            <a:custGeom>
              <a:avLst/>
              <a:gdLst>
                <a:gd name="connsiteX0" fmla="*/ 163838 w 163837"/>
                <a:gd name="connsiteY0" fmla="*/ 114940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C9B631A0-07CE-4731-BF18-13663077CBAC}"/>
                </a:ext>
              </a:extLst>
            </p:cNvPr>
            <p:cNvSpPr/>
            <p:nvPr/>
          </p:nvSpPr>
          <p:spPr>
            <a:xfrm>
              <a:off x="9630146" y="2952868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6 w 673766"/>
                <a:gd name="connsiteY1" fmla="*/ 234324 h 351168"/>
                <a:gd name="connsiteX2" fmla="*/ 506118 w 673766"/>
                <a:gd name="connsiteY2" fmla="*/ 350534 h 351168"/>
                <a:gd name="connsiteX3" fmla="*/ 337836 w 673766"/>
                <a:gd name="connsiteY3" fmla="*/ 234324 h 351168"/>
                <a:gd name="connsiteX4" fmla="*/ 337201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6" y="234324"/>
                  </a:lnTo>
                  <a:lnTo>
                    <a:pt x="506118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5E9EF1EC-6FED-481E-AD90-49EB598CE6B4}"/>
                </a:ext>
              </a:extLst>
            </p:cNvPr>
            <p:cNvSpPr/>
            <p:nvPr/>
          </p:nvSpPr>
          <p:spPr>
            <a:xfrm>
              <a:off x="6225117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33C0CB7A-776D-4270-81F1-A6DF4E36A0B5}"/>
                </a:ext>
              </a:extLst>
            </p:cNvPr>
            <p:cNvSpPr/>
            <p:nvPr/>
          </p:nvSpPr>
          <p:spPr>
            <a:xfrm>
              <a:off x="6905869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9A92C8F4-3F89-410B-95DE-14889E61C6BE}"/>
                </a:ext>
              </a:extLst>
            </p:cNvPr>
            <p:cNvSpPr/>
            <p:nvPr/>
          </p:nvSpPr>
          <p:spPr>
            <a:xfrm>
              <a:off x="7586621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B818EB59-386E-4B12-9DB5-67BBFF1F8319}"/>
                </a:ext>
              </a:extLst>
            </p:cNvPr>
            <p:cNvSpPr/>
            <p:nvPr/>
          </p:nvSpPr>
          <p:spPr>
            <a:xfrm>
              <a:off x="8267372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315AB366-349E-4A15-980A-C66B3E374AE5}"/>
                </a:ext>
              </a:extLst>
            </p:cNvPr>
            <p:cNvSpPr/>
            <p:nvPr/>
          </p:nvSpPr>
          <p:spPr>
            <a:xfrm>
              <a:off x="8948124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2E4FEECF-D566-4EF9-9F40-7441FCF227E7}"/>
                </a:ext>
              </a:extLst>
            </p:cNvPr>
            <p:cNvSpPr/>
            <p:nvPr/>
          </p:nvSpPr>
          <p:spPr>
            <a:xfrm>
              <a:off x="5884741" y="3427232"/>
              <a:ext cx="164472" cy="227339"/>
            </a:xfrm>
            <a:custGeom>
              <a:avLst/>
              <a:gdLst>
                <a:gd name="connsiteX0" fmla="*/ 164473 w 164472"/>
                <a:gd name="connsiteY0" fmla="*/ 114305 h 227339"/>
                <a:gd name="connsiteX1" fmla="*/ 0 w 164472"/>
                <a:gd name="connsiteY1" fmla="*/ 227339 h 227339"/>
                <a:gd name="connsiteX2" fmla="*/ 0 w 164472"/>
                <a:gd name="connsiteY2" fmla="*/ 0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164473" y="114305"/>
                  </a:moveTo>
                  <a:lnTo>
                    <a:pt x="0" y="22733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1D5CB6F7-A3EA-4CEE-B3D7-FB78F807AD60}"/>
                </a:ext>
              </a:extLst>
            </p:cNvPr>
            <p:cNvSpPr/>
            <p:nvPr/>
          </p:nvSpPr>
          <p:spPr>
            <a:xfrm>
              <a:off x="5886011" y="3662191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1169 h 351168"/>
                <a:gd name="connsiteX3" fmla="*/ 338471 w 674401"/>
                <a:gd name="connsiteY3" fmla="*/ 234959 h 351168"/>
                <a:gd name="connsiteX4" fmla="*/ 337201 w 674401"/>
                <a:gd name="connsiteY4" fmla="*/ 234324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8471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A939BB36-07EC-4783-A4E8-AE8255F5B50D}"/>
                </a:ext>
              </a:extLst>
            </p:cNvPr>
            <p:cNvSpPr/>
            <p:nvPr/>
          </p:nvSpPr>
          <p:spPr>
            <a:xfrm>
              <a:off x="6565493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D62041A5-7F3C-4724-8B71-ADC54CF542C9}"/>
                </a:ext>
              </a:extLst>
            </p:cNvPr>
            <p:cNvSpPr/>
            <p:nvPr/>
          </p:nvSpPr>
          <p:spPr>
            <a:xfrm>
              <a:off x="6566763" y="3662191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1169 h 351168"/>
                <a:gd name="connsiteX3" fmla="*/ 338471 w 674401"/>
                <a:gd name="connsiteY3" fmla="*/ 234959 h 351168"/>
                <a:gd name="connsiteX4" fmla="*/ 337201 w 674401"/>
                <a:gd name="connsiteY4" fmla="*/ 234324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8471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22174C58-9A55-4DFF-A8DD-EF28CD3172A7}"/>
                </a:ext>
              </a:extLst>
            </p:cNvPr>
            <p:cNvSpPr/>
            <p:nvPr/>
          </p:nvSpPr>
          <p:spPr>
            <a:xfrm>
              <a:off x="7246245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CF433F85-2DC9-40D4-BC50-64D8C503C675}"/>
                </a:ext>
              </a:extLst>
            </p:cNvPr>
            <p:cNvSpPr/>
            <p:nvPr/>
          </p:nvSpPr>
          <p:spPr>
            <a:xfrm>
              <a:off x="7247515" y="3662191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1169 h 351168"/>
                <a:gd name="connsiteX3" fmla="*/ 337836 w 674401"/>
                <a:gd name="connsiteY3" fmla="*/ 234959 h 351168"/>
                <a:gd name="connsiteX4" fmla="*/ 337201 w 674401"/>
                <a:gd name="connsiteY4" fmla="*/ 234324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A6F42F1D-BE28-4EF4-A16B-D397405FB47D}"/>
                </a:ext>
              </a:extLst>
            </p:cNvPr>
            <p:cNvSpPr/>
            <p:nvPr/>
          </p:nvSpPr>
          <p:spPr>
            <a:xfrm>
              <a:off x="7926997" y="3427232"/>
              <a:ext cx="163837" cy="227339"/>
            </a:xfrm>
            <a:custGeom>
              <a:avLst/>
              <a:gdLst>
                <a:gd name="connsiteX0" fmla="*/ 163838 w 163837"/>
                <a:gd name="connsiteY0" fmla="*/ 114305 h 227339"/>
                <a:gd name="connsiteX1" fmla="*/ 0 w 163837"/>
                <a:gd name="connsiteY1" fmla="*/ 227339 h 227339"/>
                <a:gd name="connsiteX2" fmla="*/ 0 w 163837"/>
                <a:gd name="connsiteY2" fmla="*/ 0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339">
                  <a:moveTo>
                    <a:pt x="163838" y="114305"/>
                  </a:moveTo>
                  <a:lnTo>
                    <a:pt x="0" y="22733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B9BC24A7-2176-443A-9319-C3011B41334B}"/>
                </a:ext>
              </a:extLst>
            </p:cNvPr>
            <p:cNvSpPr/>
            <p:nvPr/>
          </p:nvSpPr>
          <p:spPr>
            <a:xfrm>
              <a:off x="7928267" y="3662191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1 w 674401"/>
                <a:gd name="connsiteY1" fmla="*/ 234324 h 351168"/>
                <a:gd name="connsiteX2" fmla="*/ 506754 w 674401"/>
                <a:gd name="connsiteY2" fmla="*/ 351169 h 351168"/>
                <a:gd name="connsiteX3" fmla="*/ 337836 w 674401"/>
                <a:gd name="connsiteY3" fmla="*/ 234959 h 351168"/>
                <a:gd name="connsiteX4" fmla="*/ 337201 w 674401"/>
                <a:gd name="connsiteY4" fmla="*/ 234324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1" y="234324"/>
                  </a:lnTo>
                  <a:lnTo>
                    <a:pt x="506754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1105A2E3-EEB4-4481-A906-DF128DBB8556}"/>
                </a:ext>
              </a:extLst>
            </p:cNvPr>
            <p:cNvSpPr/>
            <p:nvPr/>
          </p:nvSpPr>
          <p:spPr>
            <a:xfrm>
              <a:off x="8607749" y="3427232"/>
              <a:ext cx="163837" cy="227339"/>
            </a:xfrm>
            <a:custGeom>
              <a:avLst/>
              <a:gdLst>
                <a:gd name="connsiteX0" fmla="*/ 163838 w 163837"/>
                <a:gd name="connsiteY0" fmla="*/ 114305 h 227339"/>
                <a:gd name="connsiteX1" fmla="*/ 0 w 163837"/>
                <a:gd name="connsiteY1" fmla="*/ 227339 h 227339"/>
                <a:gd name="connsiteX2" fmla="*/ 0 w 163837"/>
                <a:gd name="connsiteY2" fmla="*/ 0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339">
                  <a:moveTo>
                    <a:pt x="163838" y="114305"/>
                  </a:moveTo>
                  <a:lnTo>
                    <a:pt x="0" y="22733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F3CC5313-F00E-46ED-9935-39DE41DD1D05}"/>
                </a:ext>
              </a:extLst>
            </p:cNvPr>
            <p:cNvSpPr/>
            <p:nvPr/>
          </p:nvSpPr>
          <p:spPr>
            <a:xfrm>
              <a:off x="8609018" y="3662191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7 w 673766"/>
                <a:gd name="connsiteY1" fmla="*/ 234324 h 351168"/>
                <a:gd name="connsiteX2" fmla="*/ 506119 w 673766"/>
                <a:gd name="connsiteY2" fmla="*/ 351169 h 351168"/>
                <a:gd name="connsiteX3" fmla="*/ 337836 w 673766"/>
                <a:gd name="connsiteY3" fmla="*/ 234959 h 351168"/>
                <a:gd name="connsiteX4" fmla="*/ 337201 w 673766"/>
                <a:gd name="connsiteY4" fmla="*/ 234324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7" y="234324"/>
                  </a:lnTo>
                  <a:lnTo>
                    <a:pt x="506119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2A70D793-87DE-4F81-8F0A-B87F7AD5AF59}"/>
                </a:ext>
              </a:extLst>
            </p:cNvPr>
            <p:cNvSpPr/>
            <p:nvPr/>
          </p:nvSpPr>
          <p:spPr>
            <a:xfrm>
              <a:off x="9288500" y="3427232"/>
              <a:ext cx="163837" cy="227339"/>
            </a:xfrm>
            <a:custGeom>
              <a:avLst/>
              <a:gdLst>
                <a:gd name="connsiteX0" fmla="*/ 0 w 163837"/>
                <a:gd name="connsiteY0" fmla="*/ 0 h 227339"/>
                <a:gd name="connsiteX1" fmla="*/ 163838 w 163837"/>
                <a:gd name="connsiteY1" fmla="*/ 114305 h 227339"/>
                <a:gd name="connsiteX2" fmla="*/ 0 w 163837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339">
                  <a:moveTo>
                    <a:pt x="0" y="0"/>
                  </a:moveTo>
                  <a:lnTo>
                    <a:pt x="163838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0F1D6452-3A21-4400-9D41-9F01D2775F61}"/>
                </a:ext>
              </a:extLst>
            </p:cNvPr>
            <p:cNvSpPr/>
            <p:nvPr/>
          </p:nvSpPr>
          <p:spPr>
            <a:xfrm>
              <a:off x="9289770" y="3662191"/>
              <a:ext cx="673766" cy="351168"/>
            </a:xfrm>
            <a:custGeom>
              <a:avLst/>
              <a:gdLst>
                <a:gd name="connsiteX0" fmla="*/ 337836 w 673766"/>
                <a:gd name="connsiteY0" fmla="*/ 234959 h 351168"/>
                <a:gd name="connsiteX1" fmla="*/ 337201 w 673766"/>
                <a:gd name="connsiteY1" fmla="*/ 234324 h 351168"/>
                <a:gd name="connsiteX2" fmla="*/ 168283 w 673766"/>
                <a:gd name="connsiteY2" fmla="*/ 351169 h 351168"/>
                <a:gd name="connsiteX3" fmla="*/ 0 w 673766"/>
                <a:gd name="connsiteY3" fmla="*/ 234324 h 351168"/>
                <a:gd name="connsiteX4" fmla="*/ 337201 w 673766"/>
                <a:gd name="connsiteY4" fmla="*/ 0 h 351168"/>
                <a:gd name="connsiteX5" fmla="*/ 673767 w 673766"/>
                <a:gd name="connsiteY5" fmla="*/ 234324 h 351168"/>
                <a:gd name="connsiteX6" fmla="*/ 506119 w 673766"/>
                <a:gd name="connsiteY6" fmla="*/ 351169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959"/>
                  </a:move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3767" y="234324"/>
                  </a:lnTo>
                  <a:lnTo>
                    <a:pt x="506119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774C12C6-603B-4637-83A0-D155265A823C}"/>
                </a:ext>
              </a:extLst>
            </p:cNvPr>
            <p:cNvSpPr/>
            <p:nvPr/>
          </p:nvSpPr>
          <p:spPr>
            <a:xfrm>
              <a:off x="9288500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2F1D8781-0394-4F3C-B730-5BEC4575B2A2}"/>
                </a:ext>
              </a:extLst>
            </p:cNvPr>
            <p:cNvSpPr/>
            <p:nvPr/>
          </p:nvSpPr>
          <p:spPr>
            <a:xfrm>
              <a:off x="9289770" y="3307847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4 h 231149"/>
                <a:gd name="connsiteX2" fmla="*/ 165743 w 333390"/>
                <a:gd name="connsiteY2" fmla="*/ 0 h 231149"/>
                <a:gd name="connsiteX3" fmla="*/ 333391 w 333390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4"/>
                  </a:lnTo>
                  <a:lnTo>
                    <a:pt x="165743" y="0"/>
                  </a:lnTo>
                  <a:lnTo>
                    <a:pt x="333391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AAAC85FC-F0B0-4EBE-8393-DB8FB46BCABA}"/>
                </a:ext>
              </a:extLst>
            </p:cNvPr>
            <p:cNvSpPr/>
            <p:nvPr/>
          </p:nvSpPr>
          <p:spPr>
            <a:xfrm>
              <a:off x="9119582" y="3191002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9C99AAD3-E85A-4053-AFB8-4CAF981BAD2C}"/>
                </a:ext>
              </a:extLst>
            </p:cNvPr>
            <p:cNvSpPr/>
            <p:nvPr/>
          </p:nvSpPr>
          <p:spPr>
            <a:xfrm>
              <a:off x="8607749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A02A5EF0-D6FD-47C1-8EE2-249D61B33AA3}"/>
                </a:ext>
              </a:extLst>
            </p:cNvPr>
            <p:cNvSpPr/>
            <p:nvPr/>
          </p:nvSpPr>
          <p:spPr>
            <a:xfrm>
              <a:off x="8609018" y="3307847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4 h 231149"/>
                <a:gd name="connsiteX2" fmla="*/ 166378 w 334025"/>
                <a:gd name="connsiteY2" fmla="*/ 0 h 231149"/>
                <a:gd name="connsiteX3" fmla="*/ 334026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4"/>
                  </a:lnTo>
                  <a:lnTo>
                    <a:pt x="166378" y="0"/>
                  </a:lnTo>
                  <a:lnTo>
                    <a:pt x="334026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0E674B08-9323-44DD-8010-D2A6EC32F530}"/>
                </a:ext>
              </a:extLst>
            </p:cNvPr>
            <p:cNvSpPr/>
            <p:nvPr/>
          </p:nvSpPr>
          <p:spPr>
            <a:xfrm>
              <a:off x="8438830" y="3191002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946BBEF1-267C-4AD1-B85E-A4FBE21362EB}"/>
                </a:ext>
              </a:extLst>
            </p:cNvPr>
            <p:cNvSpPr/>
            <p:nvPr/>
          </p:nvSpPr>
          <p:spPr>
            <a:xfrm>
              <a:off x="7926997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13A23F61-F056-4D12-8B05-D563E7048BA1}"/>
                </a:ext>
              </a:extLst>
            </p:cNvPr>
            <p:cNvSpPr/>
            <p:nvPr/>
          </p:nvSpPr>
          <p:spPr>
            <a:xfrm>
              <a:off x="7928267" y="3307847"/>
              <a:ext cx="334025" cy="231149"/>
            </a:xfrm>
            <a:custGeom>
              <a:avLst/>
              <a:gdLst>
                <a:gd name="connsiteX0" fmla="*/ 166377 w 334025"/>
                <a:gd name="connsiteY0" fmla="*/ 231149 h 231149"/>
                <a:gd name="connsiteX1" fmla="*/ 0 w 334025"/>
                <a:gd name="connsiteY1" fmla="*/ 115574 h 231149"/>
                <a:gd name="connsiteX2" fmla="*/ 166377 w 334025"/>
                <a:gd name="connsiteY2" fmla="*/ 0 h 231149"/>
                <a:gd name="connsiteX3" fmla="*/ 334025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7" y="231149"/>
                  </a:moveTo>
                  <a:lnTo>
                    <a:pt x="0" y="115574"/>
                  </a:lnTo>
                  <a:lnTo>
                    <a:pt x="166377" y="0"/>
                  </a:lnTo>
                  <a:lnTo>
                    <a:pt x="334025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6FE04AAF-6A69-46B2-9D71-250F4020D579}"/>
                </a:ext>
              </a:extLst>
            </p:cNvPr>
            <p:cNvSpPr/>
            <p:nvPr/>
          </p:nvSpPr>
          <p:spPr>
            <a:xfrm>
              <a:off x="7758079" y="3191002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5BA43401-1218-45DB-83FD-7702F0E63617}"/>
                </a:ext>
              </a:extLst>
            </p:cNvPr>
            <p:cNvSpPr/>
            <p:nvPr/>
          </p:nvSpPr>
          <p:spPr>
            <a:xfrm>
              <a:off x="7246245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DE2034FB-C0FD-4E6F-91B7-1A9E6B330395}"/>
                </a:ext>
              </a:extLst>
            </p:cNvPr>
            <p:cNvSpPr/>
            <p:nvPr/>
          </p:nvSpPr>
          <p:spPr>
            <a:xfrm>
              <a:off x="7247515" y="3307847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4 h 231149"/>
                <a:gd name="connsiteX2" fmla="*/ 166378 w 334025"/>
                <a:gd name="connsiteY2" fmla="*/ 0 h 231149"/>
                <a:gd name="connsiteX3" fmla="*/ 334025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4"/>
                  </a:lnTo>
                  <a:lnTo>
                    <a:pt x="166378" y="0"/>
                  </a:lnTo>
                  <a:lnTo>
                    <a:pt x="334025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4C2B280D-E981-4DD3-8C95-D6E8B75C6BCD}"/>
                </a:ext>
              </a:extLst>
            </p:cNvPr>
            <p:cNvSpPr/>
            <p:nvPr/>
          </p:nvSpPr>
          <p:spPr>
            <a:xfrm>
              <a:off x="7077327" y="3191002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33867644-AA12-4EC2-ADED-D3AF2C07226E}"/>
                </a:ext>
              </a:extLst>
            </p:cNvPr>
            <p:cNvSpPr/>
            <p:nvPr/>
          </p:nvSpPr>
          <p:spPr>
            <a:xfrm>
              <a:off x="6565493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C5F93F10-F0D6-4A82-A903-5CCB76D11F1C}"/>
                </a:ext>
              </a:extLst>
            </p:cNvPr>
            <p:cNvSpPr/>
            <p:nvPr/>
          </p:nvSpPr>
          <p:spPr>
            <a:xfrm>
              <a:off x="6566763" y="3307847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4 h 231149"/>
                <a:gd name="connsiteX2" fmla="*/ 166378 w 334025"/>
                <a:gd name="connsiteY2" fmla="*/ 0 h 231149"/>
                <a:gd name="connsiteX3" fmla="*/ 334026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4"/>
                  </a:lnTo>
                  <a:lnTo>
                    <a:pt x="166378" y="0"/>
                  </a:lnTo>
                  <a:lnTo>
                    <a:pt x="334026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229F99F4-0E43-4E0E-910F-CCDCDE892330}"/>
                </a:ext>
              </a:extLst>
            </p:cNvPr>
            <p:cNvSpPr/>
            <p:nvPr/>
          </p:nvSpPr>
          <p:spPr>
            <a:xfrm>
              <a:off x="6396575" y="3191002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EE0CE674-AA74-495B-8852-79990673FDD2}"/>
                </a:ext>
              </a:extLst>
            </p:cNvPr>
            <p:cNvSpPr/>
            <p:nvPr/>
          </p:nvSpPr>
          <p:spPr>
            <a:xfrm>
              <a:off x="5884741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7F84C14D-69E9-44A9-91A0-58D35CC129CF}"/>
                </a:ext>
              </a:extLst>
            </p:cNvPr>
            <p:cNvSpPr/>
            <p:nvPr/>
          </p:nvSpPr>
          <p:spPr>
            <a:xfrm>
              <a:off x="5886011" y="3307847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4 h 231149"/>
                <a:gd name="connsiteX2" fmla="*/ 166378 w 334025"/>
                <a:gd name="connsiteY2" fmla="*/ 0 h 231149"/>
                <a:gd name="connsiteX3" fmla="*/ 334026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4"/>
                  </a:lnTo>
                  <a:lnTo>
                    <a:pt x="166378" y="0"/>
                  </a:lnTo>
                  <a:lnTo>
                    <a:pt x="334026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07563523-AA85-4FC4-A4F4-03EE190DBCCD}"/>
                </a:ext>
              </a:extLst>
            </p:cNvPr>
            <p:cNvSpPr/>
            <p:nvPr/>
          </p:nvSpPr>
          <p:spPr>
            <a:xfrm>
              <a:off x="5715823" y="3191002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BCAD2BC0-B6ED-48BF-AE2E-0FB290D004E5}"/>
                </a:ext>
              </a:extLst>
            </p:cNvPr>
            <p:cNvSpPr/>
            <p:nvPr/>
          </p:nvSpPr>
          <p:spPr>
            <a:xfrm>
              <a:off x="9628876" y="3190367"/>
              <a:ext cx="336565" cy="702973"/>
            </a:xfrm>
            <a:custGeom>
              <a:avLst/>
              <a:gdLst>
                <a:gd name="connsiteX0" fmla="*/ 0 w 336565"/>
                <a:gd name="connsiteY0" fmla="*/ 468649 h 702973"/>
                <a:gd name="connsiteX1" fmla="*/ 0 w 336565"/>
                <a:gd name="connsiteY1" fmla="*/ 0 h 702973"/>
                <a:gd name="connsiteX2" fmla="*/ 167648 w 336565"/>
                <a:gd name="connsiteY2" fmla="*/ 116845 h 702973"/>
                <a:gd name="connsiteX3" fmla="*/ 167648 w 336565"/>
                <a:gd name="connsiteY3" fmla="*/ 351804 h 702973"/>
                <a:gd name="connsiteX4" fmla="*/ 336566 w 336565"/>
                <a:gd name="connsiteY4" fmla="*/ 468649 h 702973"/>
                <a:gd name="connsiteX5" fmla="*/ 336566 w 336565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0" y="468649"/>
                  </a:moveTo>
                  <a:lnTo>
                    <a:pt x="0" y="0"/>
                  </a:lnTo>
                  <a:lnTo>
                    <a:pt x="167648" y="116845"/>
                  </a:ln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4DF85614-C557-4B3B-A368-FA432ECBF4F4}"/>
                </a:ext>
              </a:extLst>
            </p:cNvPr>
            <p:cNvSpPr/>
            <p:nvPr/>
          </p:nvSpPr>
          <p:spPr>
            <a:xfrm>
              <a:off x="9968617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5D81394A-586B-4F10-A588-2149F3C03127}"/>
                </a:ext>
              </a:extLst>
            </p:cNvPr>
            <p:cNvSpPr/>
            <p:nvPr/>
          </p:nvSpPr>
          <p:spPr>
            <a:xfrm>
              <a:off x="9970522" y="3307847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4 h 231149"/>
                <a:gd name="connsiteX2" fmla="*/ 165743 w 333390"/>
                <a:gd name="connsiteY2" fmla="*/ 0 h 231149"/>
                <a:gd name="connsiteX3" fmla="*/ 333391 w 333390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4"/>
                  </a:lnTo>
                  <a:lnTo>
                    <a:pt x="165743" y="0"/>
                  </a:lnTo>
                  <a:lnTo>
                    <a:pt x="333391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E0FA01CE-7307-4106-B27F-DCCA23FAA253}"/>
                </a:ext>
              </a:extLst>
            </p:cNvPr>
            <p:cNvSpPr/>
            <p:nvPr/>
          </p:nvSpPr>
          <p:spPr>
            <a:xfrm>
              <a:off x="9800334" y="3191002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FBEAD109-E3CE-4F5E-B1E6-F850AB51CEF9}"/>
                </a:ext>
              </a:extLst>
            </p:cNvPr>
            <p:cNvSpPr/>
            <p:nvPr/>
          </p:nvSpPr>
          <p:spPr>
            <a:xfrm>
              <a:off x="9459323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F9991A34-08C6-4F3B-8827-DF28C23D5F41}"/>
                </a:ext>
              </a:extLst>
            </p:cNvPr>
            <p:cNvSpPr/>
            <p:nvPr/>
          </p:nvSpPr>
          <p:spPr>
            <a:xfrm>
              <a:off x="8778571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96A6F7FB-8246-4F98-88D7-40836ECECC83}"/>
                </a:ext>
              </a:extLst>
            </p:cNvPr>
            <p:cNvSpPr/>
            <p:nvPr/>
          </p:nvSpPr>
          <p:spPr>
            <a:xfrm>
              <a:off x="8097819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36370102-4813-4D57-B4DB-53E6B01F152F}"/>
                </a:ext>
              </a:extLst>
            </p:cNvPr>
            <p:cNvSpPr/>
            <p:nvPr/>
          </p:nvSpPr>
          <p:spPr>
            <a:xfrm>
              <a:off x="7417068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BBA6BBAC-8562-4F72-83F6-01D58ACEA14D}"/>
                </a:ext>
              </a:extLst>
            </p:cNvPr>
            <p:cNvSpPr/>
            <p:nvPr/>
          </p:nvSpPr>
          <p:spPr>
            <a:xfrm>
              <a:off x="6736316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59C81D27-5AC8-4761-B96B-D61530DF2731}"/>
                </a:ext>
              </a:extLst>
            </p:cNvPr>
            <p:cNvSpPr/>
            <p:nvPr/>
          </p:nvSpPr>
          <p:spPr>
            <a:xfrm>
              <a:off x="6055564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3ECE58F1-342F-4449-A8B2-EAF7572C00F7}"/>
                </a:ext>
              </a:extLst>
            </p:cNvPr>
            <p:cNvSpPr/>
            <p:nvPr/>
          </p:nvSpPr>
          <p:spPr>
            <a:xfrm>
              <a:off x="10139440" y="3190367"/>
              <a:ext cx="166377" cy="229879"/>
            </a:xfrm>
            <a:custGeom>
              <a:avLst/>
              <a:gdLst>
                <a:gd name="connsiteX0" fmla="*/ 0 w 166377"/>
                <a:gd name="connsiteY0" fmla="*/ 115575 h 229879"/>
                <a:gd name="connsiteX1" fmla="*/ 166378 w 166377"/>
                <a:gd name="connsiteY1" fmla="*/ 0 h 229879"/>
                <a:gd name="connsiteX2" fmla="*/ 166378 w 166377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0" y="115575"/>
                  </a:moveTo>
                  <a:lnTo>
                    <a:pt x="166378" y="0"/>
                  </a:lnTo>
                  <a:lnTo>
                    <a:pt x="166378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9685CDF7-98A0-41F9-82BF-A0E2920AC938}"/>
                </a:ext>
              </a:extLst>
            </p:cNvPr>
            <p:cNvSpPr/>
            <p:nvPr/>
          </p:nvSpPr>
          <p:spPr>
            <a:xfrm>
              <a:off x="9628876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2B114F73-3027-48D2-8CE1-B0F88AB3AB13}"/>
                </a:ext>
              </a:extLst>
            </p:cNvPr>
            <p:cNvSpPr/>
            <p:nvPr/>
          </p:nvSpPr>
          <p:spPr>
            <a:xfrm>
              <a:off x="9630146" y="2598524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2C58577A-4B1A-4C40-8FD3-A8082B407BCC}"/>
                </a:ext>
              </a:extLst>
            </p:cNvPr>
            <p:cNvSpPr/>
            <p:nvPr/>
          </p:nvSpPr>
          <p:spPr>
            <a:xfrm>
              <a:off x="9459958" y="2481679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001B54A0-6DD8-4FF2-A586-1F54722672EB}"/>
                </a:ext>
              </a:extLst>
            </p:cNvPr>
            <p:cNvSpPr/>
            <p:nvPr/>
          </p:nvSpPr>
          <p:spPr>
            <a:xfrm>
              <a:off x="8948124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134E9526-3882-4149-94FB-61CCEDFF58A1}"/>
                </a:ext>
              </a:extLst>
            </p:cNvPr>
            <p:cNvSpPr/>
            <p:nvPr/>
          </p:nvSpPr>
          <p:spPr>
            <a:xfrm>
              <a:off x="8949395" y="2598524"/>
              <a:ext cx="334025" cy="231149"/>
            </a:xfrm>
            <a:custGeom>
              <a:avLst/>
              <a:gdLst>
                <a:gd name="connsiteX0" fmla="*/ 165743 w 334025"/>
                <a:gd name="connsiteY0" fmla="*/ 231149 h 231149"/>
                <a:gd name="connsiteX1" fmla="*/ 0 w 334025"/>
                <a:gd name="connsiteY1" fmla="*/ 115575 h 231149"/>
                <a:gd name="connsiteX2" fmla="*/ 165743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AE16586D-39DC-43B8-BFB7-737A8A8B9860}"/>
                </a:ext>
              </a:extLst>
            </p:cNvPr>
            <p:cNvSpPr/>
            <p:nvPr/>
          </p:nvSpPr>
          <p:spPr>
            <a:xfrm>
              <a:off x="8779207" y="2481679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205F0529-BA29-4466-89E0-3E0FFECBCDEC}"/>
                </a:ext>
              </a:extLst>
            </p:cNvPr>
            <p:cNvSpPr/>
            <p:nvPr/>
          </p:nvSpPr>
          <p:spPr>
            <a:xfrm>
              <a:off x="8267372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D6ED1F7A-F39E-417F-BA23-DACEB4ED6ACF}"/>
                </a:ext>
              </a:extLst>
            </p:cNvPr>
            <p:cNvSpPr/>
            <p:nvPr/>
          </p:nvSpPr>
          <p:spPr>
            <a:xfrm>
              <a:off x="8268643" y="2598524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4BA212FF-B362-4351-B7F7-7973F5AE818E}"/>
                </a:ext>
              </a:extLst>
            </p:cNvPr>
            <p:cNvSpPr/>
            <p:nvPr/>
          </p:nvSpPr>
          <p:spPr>
            <a:xfrm>
              <a:off x="8098455" y="2481679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40D28068-E3C3-485A-AC55-7220A97B727E}"/>
                </a:ext>
              </a:extLst>
            </p:cNvPr>
            <p:cNvSpPr/>
            <p:nvPr/>
          </p:nvSpPr>
          <p:spPr>
            <a:xfrm>
              <a:off x="7586621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21FDE1AC-A140-4914-825D-590E24CCB82C}"/>
                </a:ext>
              </a:extLst>
            </p:cNvPr>
            <p:cNvSpPr/>
            <p:nvPr/>
          </p:nvSpPr>
          <p:spPr>
            <a:xfrm>
              <a:off x="7587891" y="2598524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28E97E00-427C-4819-86AA-B171939DC277}"/>
                </a:ext>
              </a:extLst>
            </p:cNvPr>
            <p:cNvSpPr/>
            <p:nvPr/>
          </p:nvSpPr>
          <p:spPr>
            <a:xfrm>
              <a:off x="7417703" y="2481679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3ADC755C-F9F0-4452-9B92-85800B560E21}"/>
                </a:ext>
              </a:extLst>
            </p:cNvPr>
            <p:cNvSpPr/>
            <p:nvPr/>
          </p:nvSpPr>
          <p:spPr>
            <a:xfrm>
              <a:off x="6905869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AD118F9A-85D5-4B12-952B-190584895EC0}"/>
                </a:ext>
              </a:extLst>
            </p:cNvPr>
            <p:cNvSpPr/>
            <p:nvPr/>
          </p:nvSpPr>
          <p:spPr>
            <a:xfrm>
              <a:off x="6907139" y="2598524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8DF3ACF1-84C6-48F6-B683-6FB121110E41}"/>
                </a:ext>
              </a:extLst>
            </p:cNvPr>
            <p:cNvSpPr/>
            <p:nvPr/>
          </p:nvSpPr>
          <p:spPr>
            <a:xfrm>
              <a:off x="6736951" y="2481679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3FB540CF-F034-41E6-8A16-463327EF60D9}"/>
                </a:ext>
              </a:extLst>
            </p:cNvPr>
            <p:cNvSpPr/>
            <p:nvPr/>
          </p:nvSpPr>
          <p:spPr>
            <a:xfrm>
              <a:off x="6225117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BBEDB76A-5014-431B-AD21-144DD9F9A97B}"/>
                </a:ext>
              </a:extLst>
            </p:cNvPr>
            <p:cNvSpPr/>
            <p:nvPr/>
          </p:nvSpPr>
          <p:spPr>
            <a:xfrm>
              <a:off x="6226387" y="2598524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684F3FC6-D392-432F-9B6C-9D843538863B}"/>
                </a:ext>
              </a:extLst>
            </p:cNvPr>
            <p:cNvSpPr/>
            <p:nvPr/>
          </p:nvSpPr>
          <p:spPr>
            <a:xfrm>
              <a:off x="6056199" y="2481679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604EB1E1-3F66-4AEE-A52E-4AA863677FC7}"/>
                </a:ext>
              </a:extLst>
            </p:cNvPr>
            <p:cNvSpPr/>
            <p:nvPr/>
          </p:nvSpPr>
          <p:spPr>
            <a:xfrm>
              <a:off x="9970522" y="3662191"/>
              <a:ext cx="673766" cy="351168"/>
            </a:xfrm>
            <a:custGeom>
              <a:avLst/>
              <a:gdLst>
                <a:gd name="connsiteX0" fmla="*/ 337836 w 673766"/>
                <a:gd name="connsiteY0" fmla="*/ 234959 h 351168"/>
                <a:gd name="connsiteX1" fmla="*/ 336566 w 673766"/>
                <a:gd name="connsiteY1" fmla="*/ 234324 h 351168"/>
                <a:gd name="connsiteX2" fmla="*/ 168283 w 673766"/>
                <a:gd name="connsiteY2" fmla="*/ 351169 h 351168"/>
                <a:gd name="connsiteX3" fmla="*/ 0 w 673766"/>
                <a:gd name="connsiteY3" fmla="*/ 234324 h 351168"/>
                <a:gd name="connsiteX4" fmla="*/ 336566 w 673766"/>
                <a:gd name="connsiteY4" fmla="*/ 0 h 351168"/>
                <a:gd name="connsiteX5" fmla="*/ 673766 w 673766"/>
                <a:gd name="connsiteY5" fmla="*/ 234324 h 351168"/>
                <a:gd name="connsiteX6" fmla="*/ 506119 w 673766"/>
                <a:gd name="connsiteY6" fmla="*/ 351169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959"/>
                  </a:moveTo>
                  <a:lnTo>
                    <a:pt x="336566" y="234324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lnTo>
                    <a:pt x="506119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8C90006C-884A-44DE-B7B0-BBF542823B83}"/>
                </a:ext>
              </a:extLst>
            </p:cNvPr>
            <p:cNvSpPr/>
            <p:nvPr/>
          </p:nvSpPr>
          <p:spPr>
            <a:xfrm>
              <a:off x="10310898" y="2598524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412182C1-AB3B-411B-8F55-17F69748A566}"/>
                </a:ext>
              </a:extLst>
            </p:cNvPr>
            <p:cNvSpPr/>
            <p:nvPr/>
          </p:nvSpPr>
          <p:spPr>
            <a:xfrm>
              <a:off x="10140075" y="2481679"/>
              <a:ext cx="333390" cy="463568"/>
            </a:xfrm>
            <a:custGeom>
              <a:avLst/>
              <a:gdLst>
                <a:gd name="connsiteX0" fmla="*/ 166378 w 333390"/>
                <a:gd name="connsiteY0" fmla="*/ 230514 h 463568"/>
                <a:gd name="connsiteX1" fmla="*/ 165743 w 333390"/>
                <a:gd name="connsiteY1" fmla="*/ 231149 h 463568"/>
                <a:gd name="connsiteX2" fmla="*/ 165743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0514"/>
                  </a:moveTo>
                  <a:lnTo>
                    <a:pt x="165743" y="231149"/>
                  </a:lnTo>
                  <a:lnTo>
                    <a:pt x="165743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C6E85275-B88D-482F-8B8E-673038966349}"/>
                </a:ext>
              </a:extLst>
            </p:cNvPr>
            <p:cNvSpPr/>
            <p:nvPr/>
          </p:nvSpPr>
          <p:spPr>
            <a:xfrm>
              <a:off x="9799699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2B3B90BF-1B00-4C9D-8E27-E7FA2B091580}"/>
                </a:ext>
              </a:extLst>
            </p:cNvPr>
            <p:cNvSpPr/>
            <p:nvPr/>
          </p:nvSpPr>
          <p:spPr>
            <a:xfrm>
              <a:off x="9118948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FBEDBB7E-C026-498D-9AAA-4DC2E26825F9}"/>
                </a:ext>
              </a:extLst>
            </p:cNvPr>
            <p:cNvSpPr/>
            <p:nvPr/>
          </p:nvSpPr>
          <p:spPr>
            <a:xfrm>
              <a:off x="8438196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04E6CA75-6563-4B35-A322-104587CFE903}"/>
                </a:ext>
              </a:extLst>
            </p:cNvPr>
            <p:cNvSpPr/>
            <p:nvPr/>
          </p:nvSpPr>
          <p:spPr>
            <a:xfrm>
              <a:off x="7757444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9C0BC556-CC8E-48D9-8790-5A6BF0EFD156}"/>
                </a:ext>
              </a:extLst>
            </p:cNvPr>
            <p:cNvSpPr/>
            <p:nvPr/>
          </p:nvSpPr>
          <p:spPr>
            <a:xfrm>
              <a:off x="7076692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A6720D8A-7287-49F4-A6A6-8036480253F8}"/>
                </a:ext>
              </a:extLst>
            </p:cNvPr>
            <p:cNvSpPr/>
            <p:nvPr/>
          </p:nvSpPr>
          <p:spPr>
            <a:xfrm>
              <a:off x="6395940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EBEF756D-C8F2-4A09-8566-D02AF549B1A2}"/>
                </a:ext>
              </a:extLst>
            </p:cNvPr>
            <p:cNvSpPr/>
            <p:nvPr/>
          </p:nvSpPr>
          <p:spPr>
            <a:xfrm>
              <a:off x="5715188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0CF7F111-8BAE-477A-8AA8-DFBE0817EC8E}"/>
                </a:ext>
              </a:extLst>
            </p:cNvPr>
            <p:cNvSpPr/>
            <p:nvPr/>
          </p:nvSpPr>
          <p:spPr>
            <a:xfrm>
              <a:off x="10308993" y="3190367"/>
              <a:ext cx="337201" cy="702973"/>
            </a:xfrm>
            <a:custGeom>
              <a:avLst/>
              <a:gdLst>
                <a:gd name="connsiteX0" fmla="*/ 0 w 337201"/>
                <a:gd name="connsiteY0" fmla="*/ 468649 h 702973"/>
                <a:gd name="connsiteX1" fmla="*/ 0 w 337201"/>
                <a:gd name="connsiteY1" fmla="*/ 0 h 702973"/>
                <a:gd name="connsiteX2" fmla="*/ 168283 w 337201"/>
                <a:gd name="connsiteY2" fmla="*/ 116845 h 702973"/>
                <a:gd name="connsiteX3" fmla="*/ 168283 w 337201"/>
                <a:gd name="connsiteY3" fmla="*/ 351804 h 702973"/>
                <a:gd name="connsiteX4" fmla="*/ 337201 w 337201"/>
                <a:gd name="connsiteY4" fmla="*/ 468649 h 702973"/>
                <a:gd name="connsiteX5" fmla="*/ 337201 w 337201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1" h="702973">
                  <a:moveTo>
                    <a:pt x="0" y="468649"/>
                  </a:moveTo>
                  <a:lnTo>
                    <a:pt x="0" y="0"/>
                  </a:lnTo>
                  <a:lnTo>
                    <a:pt x="168283" y="116845"/>
                  </a:lnTo>
                  <a:lnTo>
                    <a:pt x="168283" y="351804"/>
                  </a:lnTo>
                  <a:lnTo>
                    <a:pt x="337201" y="468649"/>
                  </a:lnTo>
                  <a:lnTo>
                    <a:pt x="337201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5658C18C-2F05-421A-B49A-D685CBBC0D0D}"/>
                </a:ext>
              </a:extLst>
            </p:cNvPr>
            <p:cNvSpPr/>
            <p:nvPr/>
          </p:nvSpPr>
          <p:spPr>
            <a:xfrm>
              <a:off x="10649369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14C04ACE-AA35-420A-B14E-4A9290E5C1ED}"/>
                </a:ext>
              </a:extLst>
            </p:cNvPr>
            <p:cNvSpPr/>
            <p:nvPr/>
          </p:nvSpPr>
          <p:spPr>
            <a:xfrm>
              <a:off x="10651274" y="3307847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4 h 231149"/>
                <a:gd name="connsiteX2" fmla="*/ 165743 w 333390"/>
                <a:gd name="connsiteY2" fmla="*/ 0 h 231149"/>
                <a:gd name="connsiteX3" fmla="*/ 333390 w 333390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4"/>
                  </a:lnTo>
                  <a:lnTo>
                    <a:pt x="165743" y="0"/>
                  </a:lnTo>
                  <a:lnTo>
                    <a:pt x="333390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40FAFD15-3F82-4DC8-9636-0E3300160E51}"/>
                </a:ext>
              </a:extLst>
            </p:cNvPr>
            <p:cNvSpPr/>
            <p:nvPr/>
          </p:nvSpPr>
          <p:spPr>
            <a:xfrm>
              <a:off x="10480451" y="3191002"/>
              <a:ext cx="333390" cy="463568"/>
            </a:xfrm>
            <a:custGeom>
              <a:avLst/>
              <a:gdLst>
                <a:gd name="connsiteX0" fmla="*/ 166378 w 333390"/>
                <a:gd name="connsiteY0" fmla="*/ 231149 h 463568"/>
                <a:gd name="connsiteX1" fmla="*/ 165743 w 333390"/>
                <a:gd name="connsiteY1" fmla="*/ 231784 h 463568"/>
                <a:gd name="connsiteX2" fmla="*/ 165743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1149"/>
                  </a:moveTo>
                  <a:lnTo>
                    <a:pt x="165743" y="231784"/>
                  </a:lnTo>
                  <a:lnTo>
                    <a:pt x="165743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859A618E-14D7-464D-82D6-2FEDD6C8CF8E}"/>
                </a:ext>
              </a:extLst>
            </p:cNvPr>
            <p:cNvSpPr/>
            <p:nvPr/>
          </p:nvSpPr>
          <p:spPr>
            <a:xfrm>
              <a:off x="10310898" y="2952868"/>
              <a:ext cx="673766" cy="351168"/>
            </a:xfrm>
            <a:custGeom>
              <a:avLst/>
              <a:gdLst>
                <a:gd name="connsiteX0" fmla="*/ 337836 w 673766"/>
                <a:gd name="connsiteY0" fmla="*/ 234324 h 351168"/>
                <a:gd name="connsiteX1" fmla="*/ 336566 w 673766"/>
                <a:gd name="connsiteY1" fmla="*/ 233689 h 351168"/>
                <a:gd name="connsiteX2" fmla="*/ 168283 w 673766"/>
                <a:gd name="connsiteY2" fmla="*/ 351169 h 351168"/>
                <a:gd name="connsiteX3" fmla="*/ 0 w 673766"/>
                <a:gd name="connsiteY3" fmla="*/ 234324 h 351168"/>
                <a:gd name="connsiteX4" fmla="*/ 336566 w 673766"/>
                <a:gd name="connsiteY4" fmla="*/ 0 h 351168"/>
                <a:gd name="connsiteX5" fmla="*/ 673766 w 673766"/>
                <a:gd name="connsiteY5" fmla="*/ 234324 h 351168"/>
                <a:gd name="connsiteX6" fmla="*/ 506119 w 673766"/>
                <a:gd name="connsiteY6" fmla="*/ 35053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324"/>
                  </a:moveTo>
                  <a:lnTo>
                    <a:pt x="336566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lnTo>
                    <a:pt x="506119" y="35053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D34519AE-F698-4D70-A61E-89409218FBF5}"/>
                </a:ext>
              </a:extLst>
            </p:cNvPr>
            <p:cNvSpPr/>
            <p:nvPr/>
          </p:nvSpPr>
          <p:spPr>
            <a:xfrm>
              <a:off x="10479816" y="2481044"/>
              <a:ext cx="166377" cy="229244"/>
            </a:xfrm>
            <a:custGeom>
              <a:avLst/>
              <a:gdLst>
                <a:gd name="connsiteX0" fmla="*/ 0 w 166377"/>
                <a:gd name="connsiteY0" fmla="*/ 114939 h 229244"/>
                <a:gd name="connsiteX1" fmla="*/ 166378 w 166377"/>
                <a:gd name="connsiteY1" fmla="*/ 0 h 229244"/>
                <a:gd name="connsiteX2" fmla="*/ 166378 w 166377"/>
                <a:gd name="connsiteY2" fmla="*/ 229244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244">
                  <a:moveTo>
                    <a:pt x="0" y="114939"/>
                  </a:moveTo>
                  <a:lnTo>
                    <a:pt x="166378" y="0"/>
                  </a:lnTo>
                  <a:lnTo>
                    <a:pt x="166378" y="22924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B7BF7F4B-8AA0-4A00-9937-617DA37B40E5}"/>
                </a:ext>
              </a:extLst>
            </p:cNvPr>
            <p:cNvSpPr/>
            <p:nvPr/>
          </p:nvSpPr>
          <p:spPr>
            <a:xfrm>
              <a:off x="10649369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A9D6433D-B79B-4FCD-BE3A-AEAF1FBACF68}"/>
                </a:ext>
              </a:extLst>
            </p:cNvPr>
            <p:cNvSpPr/>
            <p:nvPr/>
          </p:nvSpPr>
          <p:spPr>
            <a:xfrm>
              <a:off x="10651274" y="1888565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0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0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415A1B2E-B04A-48AA-BAAE-3B3351F0A82A}"/>
                </a:ext>
              </a:extLst>
            </p:cNvPr>
            <p:cNvSpPr/>
            <p:nvPr/>
          </p:nvSpPr>
          <p:spPr>
            <a:xfrm>
              <a:off x="10480451" y="1771720"/>
              <a:ext cx="333390" cy="463568"/>
            </a:xfrm>
            <a:custGeom>
              <a:avLst/>
              <a:gdLst>
                <a:gd name="connsiteX0" fmla="*/ 166378 w 333390"/>
                <a:gd name="connsiteY0" fmla="*/ 231149 h 463568"/>
                <a:gd name="connsiteX1" fmla="*/ 165743 w 333390"/>
                <a:gd name="connsiteY1" fmla="*/ 231784 h 463568"/>
                <a:gd name="connsiteX2" fmla="*/ 165743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1149"/>
                  </a:moveTo>
                  <a:lnTo>
                    <a:pt x="165743" y="231784"/>
                  </a:lnTo>
                  <a:lnTo>
                    <a:pt x="165743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B0BAE090-F6AD-4E9C-90E1-1D722EB7FB0D}"/>
                </a:ext>
              </a:extLst>
            </p:cNvPr>
            <p:cNvSpPr/>
            <p:nvPr/>
          </p:nvSpPr>
          <p:spPr>
            <a:xfrm>
              <a:off x="9968617" y="2007950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635 w 337200"/>
                <a:gd name="connsiteY1" fmla="*/ 466109 h 466108"/>
                <a:gd name="connsiteX2" fmla="*/ 0 w 337200"/>
                <a:gd name="connsiteY2" fmla="*/ 232419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635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7700CD84-67F2-4A1C-BBF7-9B61332445FE}"/>
                </a:ext>
              </a:extLst>
            </p:cNvPr>
            <p:cNvSpPr/>
            <p:nvPr/>
          </p:nvSpPr>
          <p:spPr>
            <a:xfrm>
              <a:off x="9970522" y="1888565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7C3D6DA5-6646-427C-BBCC-B6D6CC4A2459}"/>
                </a:ext>
              </a:extLst>
            </p:cNvPr>
            <p:cNvSpPr/>
            <p:nvPr/>
          </p:nvSpPr>
          <p:spPr>
            <a:xfrm>
              <a:off x="9800334" y="1771720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947F097E-5035-4E3B-AE70-EE0B1439B9D9}"/>
                </a:ext>
              </a:extLst>
            </p:cNvPr>
            <p:cNvSpPr/>
            <p:nvPr/>
          </p:nvSpPr>
          <p:spPr>
            <a:xfrm>
              <a:off x="9288500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090DF782-79E2-45E2-9B01-858C50E5A428}"/>
                </a:ext>
              </a:extLst>
            </p:cNvPr>
            <p:cNvSpPr/>
            <p:nvPr/>
          </p:nvSpPr>
          <p:spPr>
            <a:xfrm>
              <a:off x="9289770" y="1888565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C0D2BA6E-3D63-4AB6-8788-D7921B4F81A0}"/>
                </a:ext>
              </a:extLst>
            </p:cNvPr>
            <p:cNvSpPr/>
            <p:nvPr/>
          </p:nvSpPr>
          <p:spPr>
            <a:xfrm>
              <a:off x="9119582" y="1771720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4408B3B7-2C21-4298-87CB-FA9098B2B410}"/>
                </a:ext>
              </a:extLst>
            </p:cNvPr>
            <p:cNvSpPr/>
            <p:nvPr/>
          </p:nvSpPr>
          <p:spPr>
            <a:xfrm>
              <a:off x="8607749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219839A4-95CD-4552-A7B0-55E8374B1232}"/>
                </a:ext>
              </a:extLst>
            </p:cNvPr>
            <p:cNvSpPr/>
            <p:nvPr/>
          </p:nvSpPr>
          <p:spPr>
            <a:xfrm>
              <a:off x="8609018" y="1888565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D418929C-34D4-4B95-A6D4-80BC0B831CC4}"/>
                </a:ext>
              </a:extLst>
            </p:cNvPr>
            <p:cNvSpPr/>
            <p:nvPr/>
          </p:nvSpPr>
          <p:spPr>
            <a:xfrm>
              <a:off x="8438830" y="1771720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1336C3F2-3788-4ED5-8F0B-459432342994}"/>
                </a:ext>
              </a:extLst>
            </p:cNvPr>
            <p:cNvSpPr/>
            <p:nvPr/>
          </p:nvSpPr>
          <p:spPr>
            <a:xfrm>
              <a:off x="7926997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6C381483-6210-4302-A8A8-F491FF4BE6D9}"/>
                </a:ext>
              </a:extLst>
            </p:cNvPr>
            <p:cNvSpPr/>
            <p:nvPr/>
          </p:nvSpPr>
          <p:spPr>
            <a:xfrm>
              <a:off x="7928267" y="1888565"/>
              <a:ext cx="334025" cy="231784"/>
            </a:xfrm>
            <a:custGeom>
              <a:avLst/>
              <a:gdLst>
                <a:gd name="connsiteX0" fmla="*/ 166377 w 334025"/>
                <a:gd name="connsiteY0" fmla="*/ 231784 h 231784"/>
                <a:gd name="connsiteX1" fmla="*/ 0 w 334025"/>
                <a:gd name="connsiteY1" fmla="*/ 115575 h 231784"/>
                <a:gd name="connsiteX2" fmla="*/ 166377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7" y="231784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4313E68E-E8CB-4FD5-879C-34E2BEA55701}"/>
                </a:ext>
              </a:extLst>
            </p:cNvPr>
            <p:cNvSpPr/>
            <p:nvPr/>
          </p:nvSpPr>
          <p:spPr>
            <a:xfrm>
              <a:off x="7758079" y="1771720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CEE71169-B49C-4DF0-BD2D-35742295D3AE}"/>
                </a:ext>
              </a:extLst>
            </p:cNvPr>
            <p:cNvSpPr/>
            <p:nvPr/>
          </p:nvSpPr>
          <p:spPr>
            <a:xfrm>
              <a:off x="7246245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3B4411D5-237C-4D18-A7A1-326672BA05CD}"/>
                </a:ext>
              </a:extLst>
            </p:cNvPr>
            <p:cNvSpPr/>
            <p:nvPr/>
          </p:nvSpPr>
          <p:spPr>
            <a:xfrm>
              <a:off x="7247515" y="1888565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921E176D-AC97-499E-8222-13466B445949}"/>
                </a:ext>
              </a:extLst>
            </p:cNvPr>
            <p:cNvSpPr/>
            <p:nvPr/>
          </p:nvSpPr>
          <p:spPr>
            <a:xfrm>
              <a:off x="7077327" y="1771720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4DE4495B-A63C-44F6-B00B-648F7D3D39EC}"/>
                </a:ext>
              </a:extLst>
            </p:cNvPr>
            <p:cNvSpPr/>
            <p:nvPr/>
          </p:nvSpPr>
          <p:spPr>
            <a:xfrm>
              <a:off x="6565493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81FFEF8B-32D5-441E-9096-E84DC45C47B8}"/>
                </a:ext>
              </a:extLst>
            </p:cNvPr>
            <p:cNvSpPr/>
            <p:nvPr/>
          </p:nvSpPr>
          <p:spPr>
            <a:xfrm>
              <a:off x="6566763" y="1888565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CC2AC9E3-847C-470C-BF9A-1710815186F6}"/>
                </a:ext>
              </a:extLst>
            </p:cNvPr>
            <p:cNvSpPr/>
            <p:nvPr/>
          </p:nvSpPr>
          <p:spPr>
            <a:xfrm>
              <a:off x="6396575" y="1771720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87989E59-BF15-41FA-A1AA-2ACD42F0D8D0}"/>
                </a:ext>
              </a:extLst>
            </p:cNvPr>
            <p:cNvSpPr/>
            <p:nvPr/>
          </p:nvSpPr>
          <p:spPr>
            <a:xfrm>
              <a:off x="5884741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FCE73372-C137-4EEB-BE02-689E65EADDD2}"/>
                </a:ext>
              </a:extLst>
            </p:cNvPr>
            <p:cNvSpPr/>
            <p:nvPr/>
          </p:nvSpPr>
          <p:spPr>
            <a:xfrm>
              <a:off x="5886011" y="1888565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0DA39390-856C-4EBA-857B-29E88802B8E2}"/>
                </a:ext>
              </a:extLst>
            </p:cNvPr>
            <p:cNvSpPr/>
            <p:nvPr/>
          </p:nvSpPr>
          <p:spPr>
            <a:xfrm>
              <a:off x="5715823" y="1771720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AEA0E781-D6C0-49FD-9A78-6B92499F47F1}"/>
                </a:ext>
              </a:extLst>
            </p:cNvPr>
            <p:cNvSpPr/>
            <p:nvPr/>
          </p:nvSpPr>
          <p:spPr>
            <a:xfrm>
              <a:off x="10820192" y="3190367"/>
              <a:ext cx="166377" cy="229879"/>
            </a:xfrm>
            <a:custGeom>
              <a:avLst/>
              <a:gdLst>
                <a:gd name="connsiteX0" fmla="*/ 0 w 166377"/>
                <a:gd name="connsiteY0" fmla="*/ 115575 h 229879"/>
                <a:gd name="connsiteX1" fmla="*/ 166378 w 166377"/>
                <a:gd name="connsiteY1" fmla="*/ 0 h 229879"/>
                <a:gd name="connsiteX2" fmla="*/ 166378 w 166377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0" y="115575"/>
                  </a:moveTo>
                  <a:lnTo>
                    <a:pt x="166378" y="0"/>
                  </a:lnTo>
                  <a:lnTo>
                    <a:pt x="166378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9290B643-9950-461D-9380-4F69D7177E69}"/>
                </a:ext>
              </a:extLst>
            </p:cNvPr>
            <p:cNvSpPr/>
            <p:nvPr/>
          </p:nvSpPr>
          <p:spPr>
            <a:xfrm>
              <a:off x="10820192" y="1771085"/>
              <a:ext cx="166377" cy="229879"/>
            </a:xfrm>
            <a:custGeom>
              <a:avLst/>
              <a:gdLst>
                <a:gd name="connsiteX0" fmla="*/ 0 w 166377"/>
                <a:gd name="connsiteY0" fmla="*/ 115575 h 229879"/>
                <a:gd name="connsiteX1" fmla="*/ 166378 w 166377"/>
                <a:gd name="connsiteY1" fmla="*/ 0 h 229879"/>
                <a:gd name="connsiteX2" fmla="*/ 166378 w 166377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0" y="115575"/>
                  </a:moveTo>
                  <a:lnTo>
                    <a:pt x="166378" y="0"/>
                  </a:lnTo>
                  <a:lnTo>
                    <a:pt x="166378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DA490AAC-BEB9-499E-9AEE-67664785080C}"/>
                </a:ext>
              </a:extLst>
            </p:cNvPr>
            <p:cNvSpPr/>
            <p:nvPr/>
          </p:nvSpPr>
          <p:spPr>
            <a:xfrm>
              <a:off x="10139440" y="1771085"/>
              <a:ext cx="166377" cy="229879"/>
            </a:xfrm>
            <a:custGeom>
              <a:avLst/>
              <a:gdLst>
                <a:gd name="connsiteX0" fmla="*/ 166378 w 166377"/>
                <a:gd name="connsiteY0" fmla="*/ 229879 h 229879"/>
                <a:gd name="connsiteX1" fmla="*/ 0 w 166377"/>
                <a:gd name="connsiteY1" fmla="*/ 115575 h 229879"/>
                <a:gd name="connsiteX2" fmla="*/ 166378 w 166377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166378" y="229879"/>
                  </a:moveTo>
                  <a:lnTo>
                    <a:pt x="0" y="115575"/>
                  </a:lnTo>
                  <a:lnTo>
                    <a:pt x="166378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220652E1-B7E6-4504-9612-BEEC1FACCED1}"/>
                </a:ext>
              </a:extLst>
            </p:cNvPr>
            <p:cNvSpPr/>
            <p:nvPr/>
          </p:nvSpPr>
          <p:spPr>
            <a:xfrm>
              <a:off x="9459323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D225F6D3-36FA-4C22-B82B-F6CE4A928651}"/>
                </a:ext>
              </a:extLst>
            </p:cNvPr>
            <p:cNvSpPr/>
            <p:nvPr/>
          </p:nvSpPr>
          <p:spPr>
            <a:xfrm>
              <a:off x="8778571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15E443DA-BF7B-4ABC-BAF6-79733290503A}"/>
                </a:ext>
              </a:extLst>
            </p:cNvPr>
            <p:cNvSpPr/>
            <p:nvPr/>
          </p:nvSpPr>
          <p:spPr>
            <a:xfrm>
              <a:off x="8097819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B6CBC8DD-2784-46D7-AE99-6AE7952F289D}"/>
                </a:ext>
              </a:extLst>
            </p:cNvPr>
            <p:cNvSpPr/>
            <p:nvPr/>
          </p:nvSpPr>
          <p:spPr>
            <a:xfrm>
              <a:off x="7417068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3C3E7E2C-FB24-41FA-A72E-43E3E516C424}"/>
                </a:ext>
              </a:extLst>
            </p:cNvPr>
            <p:cNvSpPr/>
            <p:nvPr/>
          </p:nvSpPr>
          <p:spPr>
            <a:xfrm>
              <a:off x="6736316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B9EB99CF-0F22-44C6-B263-2CDDBC1C1FB1}"/>
                </a:ext>
              </a:extLst>
            </p:cNvPr>
            <p:cNvSpPr/>
            <p:nvPr/>
          </p:nvSpPr>
          <p:spPr>
            <a:xfrm>
              <a:off x="6055564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FB2483BC-80A4-4233-9B1E-919CA86D71F3}"/>
                </a:ext>
              </a:extLst>
            </p:cNvPr>
            <p:cNvSpPr/>
            <p:nvPr/>
          </p:nvSpPr>
          <p:spPr>
            <a:xfrm>
              <a:off x="10651274" y="3662191"/>
              <a:ext cx="673766" cy="351168"/>
            </a:xfrm>
            <a:custGeom>
              <a:avLst/>
              <a:gdLst>
                <a:gd name="connsiteX0" fmla="*/ 337836 w 673766"/>
                <a:gd name="connsiteY0" fmla="*/ 234959 h 351168"/>
                <a:gd name="connsiteX1" fmla="*/ 336565 w 673766"/>
                <a:gd name="connsiteY1" fmla="*/ 234324 h 351168"/>
                <a:gd name="connsiteX2" fmla="*/ 168283 w 673766"/>
                <a:gd name="connsiteY2" fmla="*/ 351169 h 351168"/>
                <a:gd name="connsiteX3" fmla="*/ 0 w 673766"/>
                <a:gd name="connsiteY3" fmla="*/ 234324 h 351168"/>
                <a:gd name="connsiteX4" fmla="*/ 336565 w 673766"/>
                <a:gd name="connsiteY4" fmla="*/ 0 h 351168"/>
                <a:gd name="connsiteX5" fmla="*/ 673767 w 673766"/>
                <a:gd name="connsiteY5" fmla="*/ 234324 h 351168"/>
                <a:gd name="connsiteX6" fmla="*/ 506119 w 673766"/>
                <a:gd name="connsiteY6" fmla="*/ 351169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959"/>
                  </a:moveTo>
                  <a:lnTo>
                    <a:pt x="336565" y="234324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6565" y="0"/>
                  </a:lnTo>
                  <a:lnTo>
                    <a:pt x="673767" y="234324"/>
                  </a:lnTo>
                  <a:lnTo>
                    <a:pt x="506119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78F5CEB4-1AD8-499E-A38B-43F0A704EA12}"/>
                </a:ext>
              </a:extLst>
            </p:cNvPr>
            <p:cNvSpPr/>
            <p:nvPr/>
          </p:nvSpPr>
          <p:spPr>
            <a:xfrm>
              <a:off x="10991650" y="2598524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5088C5F7-92F4-4DC1-87BD-BEF5C87A3675}"/>
                </a:ext>
              </a:extLst>
            </p:cNvPr>
            <p:cNvSpPr/>
            <p:nvPr/>
          </p:nvSpPr>
          <p:spPr>
            <a:xfrm>
              <a:off x="10820827" y="2481679"/>
              <a:ext cx="333390" cy="463568"/>
            </a:xfrm>
            <a:custGeom>
              <a:avLst/>
              <a:gdLst>
                <a:gd name="connsiteX0" fmla="*/ 166377 w 333390"/>
                <a:gd name="connsiteY0" fmla="*/ 230514 h 463568"/>
                <a:gd name="connsiteX1" fmla="*/ 165743 w 333390"/>
                <a:gd name="connsiteY1" fmla="*/ 231149 h 463568"/>
                <a:gd name="connsiteX2" fmla="*/ 165743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2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7" y="230514"/>
                  </a:moveTo>
                  <a:lnTo>
                    <a:pt x="165743" y="231149"/>
                  </a:lnTo>
                  <a:lnTo>
                    <a:pt x="165743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2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5" name="Freeform: Shape 264">
              <a:extLst>
                <a:ext uri="{FF2B5EF4-FFF2-40B4-BE49-F238E27FC236}">
                  <a16:creationId xmlns:a16="http://schemas.microsoft.com/office/drawing/2014/main" id="{3F2885F5-C46D-4388-BA77-9E6DC869D443}"/>
                </a:ext>
              </a:extLst>
            </p:cNvPr>
            <p:cNvSpPr/>
            <p:nvPr/>
          </p:nvSpPr>
          <p:spPr>
            <a:xfrm>
              <a:off x="10651274" y="2242909"/>
              <a:ext cx="673766" cy="351804"/>
            </a:xfrm>
            <a:custGeom>
              <a:avLst/>
              <a:gdLst>
                <a:gd name="connsiteX0" fmla="*/ 337836 w 673766"/>
                <a:gd name="connsiteY0" fmla="*/ 234959 h 351804"/>
                <a:gd name="connsiteX1" fmla="*/ 336565 w 673766"/>
                <a:gd name="connsiteY1" fmla="*/ 234324 h 351804"/>
                <a:gd name="connsiteX2" fmla="*/ 168283 w 673766"/>
                <a:gd name="connsiteY2" fmla="*/ 351804 h 351804"/>
                <a:gd name="connsiteX3" fmla="*/ 0 w 673766"/>
                <a:gd name="connsiteY3" fmla="*/ 234324 h 351804"/>
                <a:gd name="connsiteX4" fmla="*/ 336565 w 673766"/>
                <a:gd name="connsiteY4" fmla="*/ 0 h 351804"/>
                <a:gd name="connsiteX5" fmla="*/ 673767 w 673766"/>
                <a:gd name="connsiteY5" fmla="*/ 234324 h 351804"/>
                <a:gd name="connsiteX6" fmla="*/ 506119 w 673766"/>
                <a:gd name="connsiteY6" fmla="*/ 351169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804">
                  <a:moveTo>
                    <a:pt x="337836" y="234959"/>
                  </a:moveTo>
                  <a:lnTo>
                    <a:pt x="336565" y="234324"/>
                  </a:lnTo>
                  <a:lnTo>
                    <a:pt x="168283" y="351804"/>
                  </a:lnTo>
                  <a:lnTo>
                    <a:pt x="0" y="234324"/>
                  </a:lnTo>
                  <a:lnTo>
                    <a:pt x="336565" y="0"/>
                  </a:lnTo>
                  <a:lnTo>
                    <a:pt x="673767" y="234324"/>
                  </a:lnTo>
                  <a:lnTo>
                    <a:pt x="506119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5394838C-726B-4536-AB33-8679196F9964}"/>
                </a:ext>
              </a:extLst>
            </p:cNvPr>
            <p:cNvSpPr/>
            <p:nvPr/>
          </p:nvSpPr>
          <p:spPr>
            <a:xfrm>
              <a:off x="10991650" y="1179242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BDA7FED4-F82B-44FF-802B-8EF65B1F7331}"/>
                </a:ext>
              </a:extLst>
            </p:cNvPr>
            <p:cNvSpPr/>
            <p:nvPr/>
          </p:nvSpPr>
          <p:spPr>
            <a:xfrm>
              <a:off x="10820827" y="1062397"/>
              <a:ext cx="333390" cy="463568"/>
            </a:xfrm>
            <a:custGeom>
              <a:avLst/>
              <a:gdLst>
                <a:gd name="connsiteX0" fmla="*/ 166377 w 333390"/>
                <a:gd name="connsiteY0" fmla="*/ 230514 h 463568"/>
                <a:gd name="connsiteX1" fmla="*/ 165743 w 333390"/>
                <a:gd name="connsiteY1" fmla="*/ 231149 h 463568"/>
                <a:gd name="connsiteX2" fmla="*/ 165743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2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7" y="230514"/>
                  </a:moveTo>
                  <a:lnTo>
                    <a:pt x="165743" y="231149"/>
                  </a:lnTo>
                  <a:lnTo>
                    <a:pt x="165743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2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8" name="Freeform: Shape 267">
              <a:extLst>
                <a:ext uri="{FF2B5EF4-FFF2-40B4-BE49-F238E27FC236}">
                  <a16:creationId xmlns:a16="http://schemas.microsoft.com/office/drawing/2014/main" id="{726A0C84-2204-49BA-93D7-3B3248D345FC}"/>
                </a:ext>
              </a:extLst>
            </p:cNvPr>
            <p:cNvSpPr/>
            <p:nvPr/>
          </p:nvSpPr>
          <p:spPr>
            <a:xfrm>
              <a:off x="10308993" y="1297991"/>
              <a:ext cx="337201" cy="466108"/>
            </a:xfrm>
            <a:custGeom>
              <a:avLst/>
              <a:gdLst>
                <a:gd name="connsiteX0" fmla="*/ 337201 w 337201"/>
                <a:gd name="connsiteY0" fmla="*/ 232419 h 466108"/>
                <a:gd name="connsiteX1" fmla="*/ 0 w 337201"/>
                <a:gd name="connsiteY1" fmla="*/ 466109 h 466108"/>
                <a:gd name="connsiteX2" fmla="*/ 0 w 337201"/>
                <a:gd name="connsiteY2" fmla="*/ 232419 h 466108"/>
                <a:gd name="connsiteX3" fmla="*/ 337201 w 337201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1" h="466108">
                  <a:moveTo>
                    <a:pt x="337201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9" name="Freeform: Shape 268">
              <a:extLst>
                <a:ext uri="{FF2B5EF4-FFF2-40B4-BE49-F238E27FC236}">
                  <a16:creationId xmlns:a16="http://schemas.microsoft.com/office/drawing/2014/main" id="{3E635761-188E-4625-90AE-2D5178BA45DC}"/>
                </a:ext>
              </a:extLst>
            </p:cNvPr>
            <p:cNvSpPr/>
            <p:nvPr/>
          </p:nvSpPr>
          <p:spPr>
            <a:xfrm>
              <a:off x="10310898" y="1179242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0" name="Freeform: Shape 269">
              <a:extLst>
                <a:ext uri="{FF2B5EF4-FFF2-40B4-BE49-F238E27FC236}">
                  <a16:creationId xmlns:a16="http://schemas.microsoft.com/office/drawing/2014/main" id="{A013CB7C-B780-4CE5-9AF9-DDEB0A3F5C34}"/>
                </a:ext>
              </a:extLst>
            </p:cNvPr>
            <p:cNvSpPr/>
            <p:nvPr/>
          </p:nvSpPr>
          <p:spPr>
            <a:xfrm>
              <a:off x="10140075" y="1062397"/>
              <a:ext cx="333390" cy="463568"/>
            </a:xfrm>
            <a:custGeom>
              <a:avLst/>
              <a:gdLst>
                <a:gd name="connsiteX0" fmla="*/ 166378 w 333390"/>
                <a:gd name="connsiteY0" fmla="*/ 230514 h 463568"/>
                <a:gd name="connsiteX1" fmla="*/ 165743 w 333390"/>
                <a:gd name="connsiteY1" fmla="*/ 231149 h 463568"/>
                <a:gd name="connsiteX2" fmla="*/ 165743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0514"/>
                  </a:moveTo>
                  <a:lnTo>
                    <a:pt x="165743" y="231149"/>
                  </a:lnTo>
                  <a:lnTo>
                    <a:pt x="165743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1" name="Freeform: Shape 270">
              <a:extLst>
                <a:ext uri="{FF2B5EF4-FFF2-40B4-BE49-F238E27FC236}">
                  <a16:creationId xmlns:a16="http://schemas.microsoft.com/office/drawing/2014/main" id="{EC46F22E-EDE5-406E-AAA7-6233187D2EC7}"/>
                </a:ext>
              </a:extLst>
            </p:cNvPr>
            <p:cNvSpPr/>
            <p:nvPr/>
          </p:nvSpPr>
          <p:spPr>
            <a:xfrm>
              <a:off x="9628876" y="1298626"/>
              <a:ext cx="336565" cy="465473"/>
            </a:xfrm>
            <a:custGeom>
              <a:avLst/>
              <a:gdLst>
                <a:gd name="connsiteX0" fmla="*/ 336566 w 336565"/>
                <a:gd name="connsiteY0" fmla="*/ 231784 h 465473"/>
                <a:gd name="connsiteX1" fmla="*/ 0 w 336565"/>
                <a:gd name="connsiteY1" fmla="*/ 465474 h 465473"/>
                <a:gd name="connsiteX2" fmla="*/ 0 w 336565"/>
                <a:gd name="connsiteY2" fmla="*/ 231784 h 465473"/>
                <a:gd name="connsiteX3" fmla="*/ 336566 w 336565"/>
                <a:gd name="connsiteY3" fmla="*/ 0 h 46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5473">
                  <a:moveTo>
                    <a:pt x="336566" y="231784"/>
                  </a:moveTo>
                  <a:lnTo>
                    <a:pt x="0" y="465474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2" name="Freeform: Shape 271">
              <a:extLst>
                <a:ext uri="{FF2B5EF4-FFF2-40B4-BE49-F238E27FC236}">
                  <a16:creationId xmlns:a16="http://schemas.microsoft.com/office/drawing/2014/main" id="{0D4704EB-2CC1-462A-921E-CD5419C9E24B}"/>
                </a:ext>
              </a:extLst>
            </p:cNvPr>
            <p:cNvSpPr/>
            <p:nvPr/>
          </p:nvSpPr>
          <p:spPr>
            <a:xfrm>
              <a:off x="9630146" y="1179242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3" name="Freeform: Shape 272">
              <a:extLst>
                <a:ext uri="{FF2B5EF4-FFF2-40B4-BE49-F238E27FC236}">
                  <a16:creationId xmlns:a16="http://schemas.microsoft.com/office/drawing/2014/main" id="{92241306-BF89-4574-B30E-A1A971C89A53}"/>
                </a:ext>
              </a:extLst>
            </p:cNvPr>
            <p:cNvSpPr/>
            <p:nvPr/>
          </p:nvSpPr>
          <p:spPr>
            <a:xfrm>
              <a:off x="9459958" y="1062397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4" name="Freeform: Shape 273">
              <a:extLst>
                <a:ext uri="{FF2B5EF4-FFF2-40B4-BE49-F238E27FC236}">
                  <a16:creationId xmlns:a16="http://schemas.microsoft.com/office/drawing/2014/main" id="{1CD47B2E-C8D0-4134-9147-ECB9963C8C44}"/>
                </a:ext>
              </a:extLst>
            </p:cNvPr>
            <p:cNvSpPr/>
            <p:nvPr/>
          </p:nvSpPr>
          <p:spPr>
            <a:xfrm>
              <a:off x="8948124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5" name="Freeform: Shape 274">
              <a:extLst>
                <a:ext uri="{FF2B5EF4-FFF2-40B4-BE49-F238E27FC236}">
                  <a16:creationId xmlns:a16="http://schemas.microsoft.com/office/drawing/2014/main" id="{092E866A-9225-4A8A-BEB7-F5E6E8C1869A}"/>
                </a:ext>
              </a:extLst>
            </p:cNvPr>
            <p:cNvSpPr/>
            <p:nvPr/>
          </p:nvSpPr>
          <p:spPr>
            <a:xfrm>
              <a:off x="8949395" y="1179242"/>
              <a:ext cx="334025" cy="231149"/>
            </a:xfrm>
            <a:custGeom>
              <a:avLst/>
              <a:gdLst>
                <a:gd name="connsiteX0" fmla="*/ 165743 w 334025"/>
                <a:gd name="connsiteY0" fmla="*/ 231149 h 231149"/>
                <a:gd name="connsiteX1" fmla="*/ 0 w 334025"/>
                <a:gd name="connsiteY1" fmla="*/ 115575 h 231149"/>
                <a:gd name="connsiteX2" fmla="*/ 165743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6" name="Freeform: Shape 275">
              <a:extLst>
                <a:ext uri="{FF2B5EF4-FFF2-40B4-BE49-F238E27FC236}">
                  <a16:creationId xmlns:a16="http://schemas.microsoft.com/office/drawing/2014/main" id="{09B61E4C-45CC-43BA-90D7-AB847D38D22F}"/>
                </a:ext>
              </a:extLst>
            </p:cNvPr>
            <p:cNvSpPr/>
            <p:nvPr/>
          </p:nvSpPr>
          <p:spPr>
            <a:xfrm>
              <a:off x="8779207" y="1062397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7" name="Freeform: Shape 276">
              <a:extLst>
                <a:ext uri="{FF2B5EF4-FFF2-40B4-BE49-F238E27FC236}">
                  <a16:creationId xmlns:a16="http://schemas.microsoft.com/office/drawing/2014/main" id="{9EE45501-7DCF-46F9-BA13-A83F9FB43407}"/>
                </a:ext>
              </a:extLst>
            </p:cNvPr>
            <p:cNvSpPr/>
            <p:nvPr/>
          </p:nvSpPr>
          <p:spPr>
            <a:xfrm>
              <a:off x="8267372" y="1298626"/>
              <a:ext cx="336565" cy="465473"/>
            </a:xfrm>
            <a:custGeom>
              <a:avLst/>
              <a:gdLst>
                <a:gd name="connsiteX0" fmla="*/ 336566 w 336565"/>
                <a:gd name="connsiteY0" fmla="*/ 231784 h 465473"/>
                <a:gd name="connsiteX1" fmla="*/ 0 w 336565"/>
                <a:gd name="connsiteY1" fmla="*/ 465474 h 465473"/>
                <a:gd name="connsiteX2" fmla="*/ 0 w 336565"/>
                <a:gd name="connsiteY2" fmla="*/ 231784 h 465473"/>
                <a:gd name="connsiteX3" fmla="*/ 336566 w 336565"/>
                <a:gd name="connsiteY3" fmla="*/ 0 h 46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5473">
                  <a:moveTo>
                    <a:pt x="336566" y="231784"/>
                  </a:moveTo>
                  <a:lnTo>
                    <a:pt x="0" y="465474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8" name="Freeform: Shape 277">
              <a:extLst>
                <a:ext uri="{FF2B5EF4-FFF2-40B4-BE49-F238E27FC236}">
                  <a16:creationId xmlns:a16="http://schemas.microsoft.com/office/drawing/2014/main" id="{C2974C81-C3B4-4067-885A-EC5F81D45CD4}"/>
                </a:ext>
              </a:extLst>
            </p:cNvPr>
            <p:cNvSpPr/>
            <p:nvPr/>
          </p:nvSpPr>
          <p:spPr>
            <a:xfrm>
              <a:off x="8268643" y="1179242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9" name="Freeform: Shape 278">
              <a:extLst>
                <a:ext uri="{FF2B5EF4-FFF2-40B4-BE49-F238E27FC236}">
                  <a16:creationId xmlns:a16="http://schemas.microsoft.com/office/drawing/2014/main" id="{680B1282-20E7-4731-B2CD-7C7DF50BDA07}"/>
                </a:ext>
              </a:extLst>
            </p:cNvPr>
            <p:cNvSpPr/>
            <p:nvPr/>
          </p:nvSpPr>
          <p:spPr>
            <a:xfrm>
              <a:off x="8098455" y="1062397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78C85A5E-7E0D-47FB-A598-6F70F9891DB7}"/>
                </a:ext>
              </a:extLst>
            </p:cNvPr>
            <p:cNvSpPr/>
            <p:nvPr/>
          </p:nvSpPr>
          <p:spPr>
            <a:xfrm>
              <a:off x="7586621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1" name="Freeform: Shape 280">
              <a:extLst>
                <a:ext uri="{FF2B5EF4-FFF2-40B4-BE49-F238E27FC236}">
                  <a16:creationId xmlns:a16="http://schemas.microsoft.com/office/drawing/2014/main" id="{6CABB3E5-402A-4B25-9D9A-FD54CA7A36F2}"/>
                </a:ext>
              </a:extLst>
            </p:cNvPr>
            <p:cNvSpPr/>
            <p:nvPr/>
          </p:nvSpPr>
          <p:spPr>
            <a:xfrm>
              <a:off x="7587891" y="1179242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0C542B77-63FE-418B-A1A0-9978155FBDCE}"/>
                </a:ext>
              </a:extLst>
            </p:cNvPr>
            <p:cNvSpPr/>
            <p:nvPr/>
          </p:nvSpPr>
          <p:spPr>
            <a:xfrm>
              <a:off x="7417703" y="1062397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3" name="Freeform: Shape 282">
              <a:extLst>
                <a:ext uri="{FF2B5EF4-FFF2-40B4-BE49-F238E27FC236}">
                  <a16:creationId xmlns:a16="http://schemas.microsoft.com/office/drawing/2014/main" id="{32DF6234-64A4-4B88-8EF7-9A539C72ABD2}"/>
                </a:ext>
              </a:extLst>
            </p:cNvPr>
            <p:cNvSpPr/>
            <p:nvPr/>
          </p:nvSpPr>
          <p:spPr>
            <a:xfrm>
              <a:off x="6905869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4" name="Freeform: Shape 283">
              <a:extLst>
                <a:ext uri="{FF2B5EF4-FFF2-40B4-BE49-F238E27FC236}">
                  <a16:creationId xmlns:a16="http://schemas.microsoft.com/office/drawing/2014/main" id="{C54CCAC2-A35C-4AB0-8A64-4968297D3AD6}"/>
                </a:ext>
              </a:extLst>
            </p:cNvPr>
            <p:cNvSpPr/>
            <p:nvPr/>
          </p:nvSpPr>
          <p:spPr>
            <a:xfrm>
              <a:off x="6907139" y="1179242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5" name="Freeform: Shape 284">
              <a:extLst>
                <a:ext uri="{FF2B5EF4-FFF2-40B4-BE49-F238E27FC236}">
                  <a16:creationId xmlns:a16="http://schemas.microsoft.com/office/drawing/2014/main" id="{1D96D526-5571-48C4-A259-68DB0A45051D}"/>
                </a:ext>
              </a:extLst>
            </p:cNvPr>
            <p:cNvSpPr/>
            <p:nvPr/>
          </p:nvSpPr>
          <p:spPr>
            <a:xfrm>
              <a:off x="6736951" y="1062397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6" name="Freeform: Shape 285">
              <a:extLst>
                <a:ext uri="{FF2B5EF4-FFF2-40B4-BE49-F238E27FC236}">
                  <a16:creationId xmlns:a16="http://schemas.microsoft.com/office/drawing/2014/main" id="{240058E2-1BD2-4B3C-B2E7-D838D04B2CA2}"/>
                </a:ext>
              </a:extLst>
            </p:cNvPr>
            <p:cNvSpPr/>
            <p:nvPr/>
          </p:nvSpPr>
          <p:spPr>
            <a:xfrm>
              <a:off x="6225117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7" name="Freeform: Shape 286">
              <a:extLst>
                <a:ext uri="{FF2B5EF4-FFF2-40B4-BE49-F238E27FC236}">
                  <a16:creationId xmlns:a16="http://schemas.microsoft.com/office/drawing/2014/main" id="{959E3BF7-64ED-4426-AC4E-6731927E7617}"/>
                </a:ext>
              </a:extLst>
            </p:cNvPr>
            <p:cNvSpPr/>
            <p:nvPr/>
          </p:nvSpPr>
          <p:spPr>
            <a:xfrm>
              <a:off x="6226387" y="1179242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8" name="Freeform: Shape 287">
              <a:extLst>
                <a:ext uri="{FF2B5EF4-FFF2-40B4-BE49-F238E27FC236}">
                  <a16:creationId xmlns:a16="http://schemas.microsoft.com/office/drawing/2014/main" id="{8F54D794-6812-4314-AD84-B2E78A4AA269}"/>
                </a:ext>
              </a:extLst>
            </p:cNvPr>
            <p:cNvSpPr/>
            <p:nvPr/>
          </p:nvSpPr>
          <p:spPr>
            <a:xfrm>
              <a:off x="6056199" y="1062397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9" name="Freeform: Shape 288">
              <a:extLst>
                <a:ext uri="{FF2B5EF4-FFF2-40B4-BE49-F238E27FC236}">
                  <a16:creationId xmlns:a16="http://schemas.microsoft.com/office/drawing/2014/main" id="{12D4095E-CC9A-43A8-B97D-B8AB56121FB3}"/>
                </a:ext>
              </a:extLst>
            </p:cNvPr>
            <p:cNvSpPr/>
            <p:nvPr userDrawn="1"/>
          </p:nvSpPr>
          <p:spPr>
            <a:xfrm>
              <a:off x="10989745" y="3190367"/>
              <a:ext cx="337200" cy="702973"/>
            </a:xfrm>
            <a:custGeom>
              <a:avLst/>
              <a:gdLst>
                <a:gd name="connsiteX0" fmla="*/ 0 w 337200"/>
                <a:gd name="connsiteY0" fmla="*/ 468649 h 702973"/>
                <a:gd name="connsiteX1" fmla="*/ 0 w 337200"/>
                <a:gd name="connsiteY1" fmla="*/ 0 h 702973"/>
                <a:gd name="connsiteX2" fmla="*/ 168283 w 337200"/>
                <a:gd name="connsiteY2" fmla="*/ 116845 h 702973"/>
                <a:gd name="connsiteX3" fmla="*/ 168283 w 337200"/>
                <a:gd name="connsiteY3" fmla="*/ 351804 h 702973"/>
                <a:gd name="connsiteX4" fmla="*/ 337201 w 337200"/>
                <a:gd name="connsiteY4" fmla="*/ 468649 h 702973"/>
                <a:gd name="connsiteX5" fmla="*/ 337201 w 337200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973">
                  <a:moveTo>
                    <a:pt x="0" y="468649"/>
                  </a:moveTo>
                  <a:lnTo>
                    <a:pt x="0" y="0"/>
                  </a:lnTo>
                  <a:lnTo>
                    <a:pt x="168283" y="116845"/>
                  </a:lnTo>
                  <a:lnTo>
                    <a:pt x="168283" y="351804"/>
                  </a:lnTo>
                  <a:lnTo>
                    <a:pt x="337201" y="468649"/>
                  </a:lnTo>
                  <a:lnTo>
                    <a:pt x="337201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0" name="Freeform: Shape 289">
              <a:extLst>
                <a:ext uri="{FF2B5EF4-FFF2-40B4-BE49-F238E27FC236}">
                  <a16:creationId xmlns:a16="http://schemas.microsoft.com/office/drawing/2014/main" id="{B12A6A38-0654-478A-A931-1CF9A44B5FB1}"/>
                </a:ext>
              </a:extLst>
            </p:cNvPr>
            <p:cNvSpPr/>
            <p:nvPr/>
          </p:nvSpPr>
          <p:spPr>
            <a:xfrm>
              <a:off x="11330121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1" name="Freeform: Shape 290">
              <a:extLst>
                <a:ext uri="{FF2B5EF4-FFF2-40B4-BE49-F238E27FC236}">
                  <a16:creationId xmlns:a16="http://schemas.microsoft.com/office/drawing/2014/main" id="{19A9F654-709E-42A1-BBBA-A54688DB4E39}"/>
                </a:ext>
              </a:extLst>
            </p:cNvPr>
            <p:cNvSpPr/>
            <p:nvPr/>
          </p:nvSpPr>
          <p:spPr>
            <a:xfrm>
              <a:off x="11331391" y="3307847"/>
              <a:ext cx="334025" cy="231149"/>
            </a:xfrm>
            <a:custGeom>
              <a:avLst/>
              <a:gdLst>
                <a:gd name="connsiteX0" fmla="*/ 166377 w 334025"/>
                <a:gd name="connsiteY0" fmla="*/ 231149 h 231149"/>
                <a:gd name="connsiteX1" fmla="*/ 0 w 334025"/>
                <a:gd name="connsiteY1" fmla="*/ 115574 h 231149"/>
                <a:gd name="connsiteX2" fmla="*/ 166377 w 334025"/>
                <a:gd name="connsiteY2" fmla="*/ 0 h 231149"/>
                <a:gd name="connsiteX3" fmla="*/ 334025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7" y="231149"/>
                  </a:moveTo>
                  <a:lnTo>
                    <a:pt x="0" y="115574"/>
                  </a:lnTo>
                  <a:lnTo>
                    <a:pt x="166377" y="0"/>
                  </a:lnTo>
                  <a:lnTo>
                    <a:pt x="334025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2" name="Freeform: Shape 291">
              <a:extLst>
                <a:ext uri="{FF2B5EF4-FFF2-40B4-BE49-F238E27FC236}">
                  <a16:creationId xmlns:a16="http://schemas.microsoft.com/office/drawing/2014/main" id="{CFD0CCE2-EF48-427C-9F99-EBAAB8641F3B}"/>
                </a:ext>
              </a:extLst>
            </p:cNvPr>
            <p:cNvSpPr/>
            <p:nvPr/>
          </p:nvSpPr>
          <p:spPr>
            <a:xfrm>
              <a:off x="11161203" y="3191002"/>
              <a:ext cx="333390" cy="463568"/>
            </a:xfrm>
            <a:custGeom>
              <a:avLst/>
              <a:gdLst>
                <a:gd name="connsiteX0" fmla="*/ 166377 w 333390"/>
                <a:gd name="connsiteY0" fmla="*/ 231149 h 463568"/>
                <a:gd name="connsiteX1" fmla="*/ 165743 w 333390"/>
                <a:gd name="connsiteY1" fmla="*/ 231784 h 463568"/>
                <a:gd name="connsiteX2" fmla="*/ 165743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7" y="231149"/>
                  </a:moveTo>
                  <a:lnTo>
                    <a:pt x="165743" y="231784"/>
                  </a:lnTo>
                  <a:lnTo>
                    <a:pt x="165743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3" name="Freeform: Shape 292">
              <a:extLst>
                <a:ext uri="{FF2B5EF4-FFF2-40B4-BE49-F238E27FC236}">
                  <a16:creationId xmlns:a16="http://schemas.microsoft.com/office/drawing/2014/main" id="{D6F113D6-755E-4281-9986-739A705A355C}"/>
                </a:ext>
              </a:extLst>
            </p:cNvPr>
            <p:cNvSpPr/>
            <p:nvPr userDrawn="1"/>
          </p:nvSpPr>
          <p:spPr>
            <a:xfrm>
              <a:off x="10991650" y="2952868"/>
              <a:ext cx="673766" cy="351168"/>
            </a:xfrm>
            <a:custGeom>
              <a:avLst/>
              <a:gdLst>
                <a:gd name="connsiteX0" fmla="*/ 337836 w 673766"/>
                <a:gd name="connsiteY0" fmla="*/ 234324 h 351168"/>
                <a:gd name="connsiteX1" fmla="*/ 336566 w 673766"/>
                <a:gd name="connsiteY1" fmla="*/ 233689 h 351168"/>
                <a:gd name="connsiteX2" fmla="*/ 167647 w 673766"/>
                <a:gd name="connsiteY2" fmla="*/ 351169 h 351168"/>
                <a:gd name="connsiteX3" fmla="*/ 0 w 673766"/>
                <a:gd name="connsiteY3" fmla="*/ 234324 h 351168"/>
                <a:gd name="connsiteX4" fmla="*/ 336566 w 673766"/>
                <a:gd name="connsiteY4" fmla="*/ 0 h 351168"/>
                <a:gd name="connsiteX5" fmla="*/ 673766 w 673766"/>
                <a:gd name="connsiteY5" fmla="*/ 234324 h 351168"/>
                <a:gd name="connsiteX6" fmla="*/ 506118 w 673766"/>
                <a:gd name="connsiteY6" fmla="*/ 35053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324"/>
                  </a:moveTo>
                  <a:lnTo>
                    <a:pt x="336566" y="233689"/>
                  </a:lnTo>
                  <a:lnTo>
                    <a:pt x="167647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lnTo>
                    <a:pt x="506118" y="35053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4" name="Freeform: Shape 293">
              <a:extLst>
                <a:ext uri="{FF2B5EF4-FFF2-40B4-BE49-F238E27FC236}">
                  <a16:creationId xmlns:a16="http://schemas.microsoft.com/office/drawing/2014/main" id="{288D58B7-DB17-4A8B-94E1-CC68C3FB8024}"/>
                </a:ext>
              </a:extLst>
            </p:cNvPr>
            <p:cNvSpPr/>
            <p:nvPr/>
          </p:nvSpPr>
          <p:spPr>
            <a:xfrm>
              <a:off x="11160568" y="2481044"/>
              <a:ext cx="165742" cy="229244"/>
            </a:xfrm>
            <a:custGeom>
              <a:avLst/>
              <a:gdLst>
                <a:gd name="connsiteX0" fmla="*/ 0 w 165742"/>
                <a:gd name="connsiteY0" fmla="*/ 114939 h 229244"/>
                <a:gd name="connsiteX1" fmla="*/ 165743 w 165742"/>
                <a:gd name="connsiteY1" fmla="*/ 0 h 229244"/>
                <a:gd name="connsiteX2" fmla="*/ 165743 w 165742"/>
                <a:gd name="connsiteY2" fmla="*/ 229244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0" y="114939"/>
                  </a:moveTo>
                  <a:lnTo>
                    <a:pt x="165743" y="0"/>
                  </a:lnTo>
                  <a:lnTo>
                    <a:pt x="165743" y="22924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5" name="Freeform: Shape 294">
              <a:extLst>
                <a:ext uri="{FF2B5EF4-FFF2-40B4-BE49-F238E27FC236}">
                  <a16:creationId xmlns:a16="http://schemas.microsoft.com/office/drawing/2014/main" id="{E8EB7E8E-9AC5-4207-B9FA-AA323C470FD7}"/>
                </a:ext>
              </a:extLst>
            </p:cNvPr>
            <p:cNvSpPr/>
            <p:nvPr/>
          </p:nvSpPr>
          <p:spPr>
            <a:xfrm>
              <a:off x="10989745" y="1771720"/>
              <a:ext cx="337200" cy="702338"/>
            </a:xfrm>
            <a:custGeom>
              <a:avLst/>
              <a:gdLst>
                <a:gd name="connsiteX0" fmla="*/ 0 w 337200"/>
                <a:gd name="connsiteY0" fmla="*/ 468014 h 702338"/>
                <a:gd name="connsiteX1" fmla="*/ 0 w 337200"/>
                <a:gd name="connsiteY1" fmla="*/ 0 h 702338"/>
                <a:gd name="connsiteX2" fmla="*/ 168283 w 337200"/>
                <a:gd name="connsiteY2" fmla="*/ 116210 h 702338"/>
                <a:gd name="connsiteX3" fmla="*/ 168283 w 337200"/>
                <a:gd name="connsiteY3" fmla="*/ 351169 h 702338"/>
                <a:gd name="connsiteX4" fmla="*/ 337201 w 337200"/>
                <a:gd name="connsiteY4" fmla="*/ 468649 h 702338"/>
                <a:gd name="connsiteX5" fmla="*/ 337201 w 337200"/>
                <a:gd name="connsiteY5" fmla="*/ 702338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8">
                  <a:moveTo>
                    <a:pt x="0" y="468014"/>
                  </a:moveTo>
                  <a:lnTo>
                    <a:pt x="0" y="0"/>
                  </a:lnTo>
                  <a:lnTo>
                    <a:pt x="168283" y="116210"/>
                  </a:ln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6" name="Freeform: Shape 295">
              <a:extLst>
                <a:ext uri="{FF2B5EF4-FFF2-40B4-BE49-F238E27FC236}">
                  <a16:creationId xmlns:a16="http://schemas.microsoft.com/office/drawing/2014/main" id="{FA0DACF7-07A8-49A1-94EA-BB4318E13B87}"/>
                </a:ext>
              </a:extLst>
            </p:cNvPr>
            <p:cNvSpPr/>
            <p:nvPr/>
          </p:nvSpPr>
          <p:spPr>
            <a:xfrm>
              <a:off x="11330121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7" name="Freeform: Shape 296">
              <a:extLst>
                <a:ext uri="{FF2B5EF4-FFF2-40B4-BE49-F238E27FC236}">
                  <a16:creationId xmlns:a16="http://schemas.microsoft.com/office/drawing/2014/main" id="{97B55E4B-5A47-4648-A4B4-F8B8100F7CF4}"/>
                </a:ext>
              </a:extLst>
            </p:cNvPr>
            <p:cNvSpPr/>
            <p:nvPr/>
          </p:nvSpPr>
          <p:spPr>
            <a:xfrm>
              <a:off x="11332026" y="1888565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8" name="Freeform: Shape 297">
              <a:extLst>
                <a:ext uri="{FF2B5EF4-FFF2-40B4-BE49-F238E27FC236}">
                  <a16:creationId xmlns:a16="http://schemas.microsoft.com/office/drawing/2014/main" id="{2D35E042-5FDC-4D40-9460-DB46EF1984D9}"/>
                </a:ext>
              </a:extLst>
            </p:cNvPr>
            <p:cNvSpPr/>
            <p:nvPr/>
          </p:nvSpPr>
          <p:spPr>
            <a:xfrm>
              <a:off x="11161203" y="1771720"/>
              <a:ext cx="333390" cy="463568"/>
            </a:xfrm>
            <a:custGeom>
              <a:avLst/>
              <a:gdLst>
                <a:gd name="connsiteX0" fmla="*/ 166377 w 333390"/>
                <a:gd name="connsiteY0" fmla="*/ 231149 h 463568"/>
                <a:gd name="connsiteX1" fmla="*/ 165743 w 333390"/>
                <a:gd name="connsiteY1" fmla="*/ 231784 h 463568"/>
                <a:gd name="connsiteX2" fmla="*/ 165743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7" y="231149"/>
                  </a:moveTo>
                  <a:lnTo>
                    <a:pt x="165743" y="231784"/>
                  </a:lnTo>
                  <a:lnTo>
                    <a:pt x="165743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353C1B0E-0D87-4024-A2D3-7B16F275421F}"/>
                </a:ext>
              </a:extLst>
            </p:cNvPr>
            <p:cNvSpPr/>
            <p:nvPr/>
          </p:nvSpPr>
          <p:spPr>
            <a:xfrm>
              <a:off x="10991650" y="1533586"/>
              <a:ext cx="673766" cy="351168"/>
            </a:xfrm>
            <a:custGeom>
              <a:avLst/>
              <a:gdLst>
                <a:gd name="connsiteX0" fmla="*/ 337836 w 673766"/>
                <a:gd name="connsiteY0" fmla="*/ 234324 h 351168"/>
                <a:gd name="connsiteX1" fmla="*/ 336566 w 673766"/>
                <a:gd name="connsiteY1" fmla="*/ 233689 h 351168"/>
                <a:gd name="connsiteX2" fmla="*/ 167647 w 673766"/>
                <a:gd name="connsiteY2" fmla="*/ 351169 h 351168"/>
                <a:gd name="connsiteX3" fmla="*/ 0 w 673766"/>
                <a:gd name="connsiteY3" fmla="*/ 234324 h 351168"/>
                <a:gd name="connsiteX4" fmla="*/ 336566 w 673766"/>
                <a:gd name="connsiteY4" fmla="*/ 0 h 351168"/>
                <a:gd name="connsiteX5" fmla="*/ 673766 w 673766"/>
                <a:gd name="connsiteY5" fmla="*/ 234324 h 351168"/>
                <a:gd name="connsiteX6" fmla="*/ 506118 w 673766"/>
                <a:gd name="connsiteY6" fmla="*/ 35053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324"/>
                  </a:moveTo>
                  <a:lnTo>
                    <a:pt x="336566" y="233689"/>
                  </a:lnTo>
                  <a:lnTo>
                    <a:pt x="167647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lnTo>
                    <a:pt x="506118" y="35053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0" name="Freeform: Shape 299">
              <a:extLst>
                <a:ext uri="{FF2B5EF4-FFF2-40B4-BE49-F238E27FC236}">
                  <a16:creationId xmlns:a16="http://schemas.microsoft.com/office/drawing/2014/main" id="{1208F0FD-CB69-4D4C-B21E-5748A3029F4D}"/>
                </a:ext>
              </a:extLst>
            </p:cNvPr>
            <p:cNvSpPr/>
            <p:nvPr/>
          </p:nvSpPr>
          <p:spPr>
            <a:xfrm>
              <a:off x="11160568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1" name="Freeform: Shape 300">
              <a:extLst>
                <a:ext uri="{FF2B5EF4-FFF2-40B4-BE49-F238E27FC236}">
                  <a16:creationId xmlns:a16="http://schemas.microsoft.com/office/drawing/2014/main" id="{EA306DBC-4A6E-40F1-8A3C-F4BA4B73F445}"/>
                </a:ext>
              </a:extLst>
            </p:cNvPr>
            <p:cNvSpPr/>
            <p:nvPr/>
          </p:nvSpPr>
          <p:spPr>
            <a:xfrm>
              <a:off x="10479816" y="1061762"/>
              <a:ext cx="166377" cy="229244"/>
            </a:xfrm>
            <a:custGeom>
              <a:avLst/>
              <a:gdLst>
                <a:gd name="connsiteX0" fmla="*/ 166378 w 166377"/>
                <a:gd name="connsiteY0" fmla="*/ 229244 h 229244"/>
                <a:gd name="connsiteX1" fmla="*/ 0 w 166377"/>
                <a:gd name="connsiteY1" fmla="*/ 114940 h 229244"/>
                <a:gd name="connsiteX2" fmla="*/ 166378 w 166377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244">
                  <a:moveTo>
                    <a:pt x="166378" y="229244"/>
                  </a:moveTo>
                  <a:lnTo>
                    <a:pt x="0" y="114940"/>
                  </a:lnTo>
                  <a:lnTo>
                    <a:pt x="166378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2" name="Freeform: Shape 301">
              <a:extLst>
                <a:ext uri="{FF2B5EF4-FFF2-40B4-BE49-F238E27FC236}">
                  <a16:creationId xmlns:a16="http://schemas.microsoft.com/office/drawing/2014/main" id="{70C0CD80-1873-48B5-95AF-529A9754991F}"/>
                </a:ext>
              </a:extLst>
            </p:cNvPr>
            <p:cNvSpPr/>
            <p:nvPr/>
          </p:nvSpPr>
          <p:spPr>
            <a:xfrm>
              <a:off x="9799699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3" name="Freeform: Shape 302">
              <a:extLst>
                <a:ext uri="{FF2B5EF4-FFF2-40B4-BE49-F238E27FC236}">
                  <a16:creationId xmlns:a16="http://schemas.microsoft.com/office/drawing/2014/main" id="{377B49AE-C42C-4EA0-930C-C00692BCED13}"/>
                </a:ext>
              </a:extLst>
            </p:cNvPr>
            <p:cNvSpPr/>
            <p:nvPr/>
          </p:nvSpPr>
          <p:spPr>
            <a:xfrm>
              <a:off x="9118948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4" name="Freeform: Shape 303">
              <a:extLst>
                <a:ext uri="{FF2B5EF4-FFF2-40B4-BE49-F238E27FC236}">
                  <a16:creationId xmlns:a16="http://schemas.microsoft.com/office/drawing/2014/main" id="{76EDEDC9-4DA7-40D8-96D2-7CBA0CD5FDDE}"/>
                </a:ext>
              </a:extLst>
            </p:cNvPr>
            <p:cNvSpPr/>
            <p:nvPr/>
          </p:nvSpPr>
          <p:spPr>
            <a:xfrm>
              <a:off x="8438196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27E136DA-DD4E-496F-86CB-6E657B23CCB8}"/>
                </a:ext>
              </a:extLst>
            </p:cNvPr>
            <p:cNvSpPr/>
            <p:nvPr/>
          </p:nvSpPr>
          <p:spPr>
            <a:xfrm>
              <a:off x="7757444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6" name="Freeform: Shape 305">
              <a:extLst>
                <a:ext uri="{FF2B5EF4-FFF2-40B4-BE49-F238E27FC236}">
                  <a16:creationId xmlns:a16="http://schemas.microsoft.com/office/drawing/2014/main" id="{D02B0CB8-D8F5-456C-BAF1-2CDECFC4C3AF}"/>
                </a:ext>
              </a:extLst>
            </p:cNvPr>
            <p:cNvSpPr/>
            <p:nvPr/>
          </p:nvSpPr>
          <p:spPr>
            <a:xfrm>
              <a:off x="7076692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7" name="Freeform: Shape 306">
              <a:extLst>
                <a:ext uri="{FF2B5EF4-FFF2-40B4-BE49-F238E27FC236}">
                  <a16:creationId xmlns:a16="http://schemas.microsoft.com/office/drawing/2014/main" id="{213B9934-BED1-4524-A498-049661102B40}"/>
                </a:ext>
              </a:extLst>
            </p:cNvPr>
            <p:cNvSpPr/>
            <p:nvPr/>
          </p:nvSpPr>
          <p:spPr>
            <a:xfrm>
              <a:off x="6395940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8" name="Freeform: Shape 307">
              <a:extLst>
                <a:ext uri="{FF2B5EF4-FFF2-40B4-BE49-F238E27FC236}">
                  <a16:creationId xmlns:a16="http://schemas.microsoft.com/office/drawing/2014/main" id="{7BEB4C63-1A68-4CF2-8C24-2C5065C42B07}"/>
                </a:ext>
              </a:extLst>
            </p:cNvPr>
            <p:cNvSpPr/>
            <p:nvPr/>
          </p:nvSpPr>
          <p:spPr>
            <a:xfrm>
              <a:off x="5715188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9" name="Freeform: Shape 308">
              <a:extLst>
                <a:ext uri="{FF2B5EF4-FFF2-40B4-BE49-F238E27FC236}">
                  <a16:creationId xmlns:a16="http://schemas.microsoft.com/office/drawing/2014/main" id="{9C3BF88E-3750-45C8-A061-E715298B5ADA}"/>
                </a:ext>
              </a:extLst>
            </p:cNvPr>
            <p:cNvSpPr/>
            <p:nvPr/>
          </p:nvSpPr>
          <p:spPr>
            <a:xfrm>
              <a:off x="11500944" y="3190367"/>
              <a:ext cx="165742" cy="229879"/>
            </a:xfrm>
            <a:custGeom>
              <a:avLst/>
              <a:gdLst>
                <a:gd name="connsiteX0" fmla="*/ 0 w 165742"/>
                <a:gd name="connsiteY0" fmla="*/ 115575 h 229879"/>
                <a:gd name="connsiteX1" fmla="*/ 165743 w 165742"/>
                <a:gd name="connsiteY1" fmla="*/ 0 h 229879"/>
                <a:gd name="connsiteX2" fmla="*/ 165743 w 165742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0" y="115575"/>
                  </a:moveTo>
                  <a:lnTo>
                    <a:pt x="165743" y="0"/>
                  </a:lnTo>
                  <a:lnTo>
                    <a:pt x="165743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0" name="Freeform: Shape 309">
              <a:extLst>
                <a:ext uri="{FF2B5EF4-FFF2-40B4-BE49-F238E27FC236}">
                  <a16:creationId xmlns:a16="http://schemas.microsoft.com/office/drawing/2014/main" id="{C6FBBE5A-F397-4A06-BAAE-5C63E9F56712}"/>
                </a:ext>
              </a:extLst>
            </p:cNvPr>
            <p:cNvSpPr/>
            <p:nvPr/>
          </p:nvSpPr>
          <p:spPr>
            <a:xfrm>
              <a:off x="11500944" y="1771085"/>
              <a:ext cx="165742" cy="229879"/>
            </a:xfrm>
            <a:custGeom>
              <a:avLst/>
              <a:gdLst>
                <a:gd name="connsiteX0" fmla="*/ 0 w 165742"/>
                <a:gd name="connsiteY0" fmla="*/ 115575 h 229879"/>
                <a:gd name="connsiteX1" fmla="*/ 165743 w 165742"/>
                <a:gd name="connsiteY1" fmla="*/ 0 h 229879"/>
                <a:gd name="connsiteX2" fmla="*/ 165743 w 165742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0" y="115575"/>
                  </a:moveTo>
                  <a:lnTo>
                    <a:pt x="165743" y="0"/>
                  </a:lnTo>
                  <a:lnTo>
                    <a:pt x="165743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1" name="Freeform: Shape 310">
              <a:extLst>
                <a:ext uri="{FF2B5EF4-FFF2-40B4-BE49-F238E27FC236}">
                  <a16:creationId xmlns:a16="http://schemas.microsoft.com/office/drawing/2014/main" id="{8631E268-38E2-4993-82BD-A36EEE17F04D}"/>
                </a:ext>
              </a:extLst>
            </p:cNvPr>
            <p:cNvSpPr/>
            <p:nvPr/>
          </p:nvSpPr>
          <p:spPr>
            <a:xfrm>
              <a:off x="11671767" y="1179242"/>
              <a:ext cx="334025" cy="231149"/>
            </a:xfrm>
            <a:custGeom>
              <a:avLst/>
              <a:gdLst>
                <a:gd name="connsiteX0" fmla="*/ 166377 w 334025"/>
                <a:gd name="connsiteY0" fmla="*/ 231149 h 231149"/>
                <a:gd name="connsiteX1" fmla="*/ 0 w 334025"/>
                <a:gd name="connsiteY1" fmla="*/ 115575 h 231149"/>
                <a:gd name="connsiteX2" fmla="*/ 166377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7" y="231149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2" name="Freeform: Shape 311">
              <a:extLst>
                <a:ext uri="{FF2B5EF4-FFF2-40B4-BE49-F238E27FC236}">
                  <a16:creationId xmlns:a16="http://schemas.microsoft.com/office/drawing/2014/main" id="{28533AA8-92C8-46B1-9567-02527BACAA79}"/>
                </a:ext>
              </a:extLst>
            </p:cNvPr>
            <p:cNvSpPr/>
            <p:nvPr/>
          </p:nvSpPr>
          <p:spPr>
            <a:xfrm>
              <a:off x="11501579" y="1062397"/>
              <a:ext cx="333390" cy="463568"/>
            </a:xfrm>
            <a:custGeom>
              <a:avLst/>
              <a:gdLst>
                <a:gd name="connsiteX0" fmla="*/ 166378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3" name="Freeform: Shape 312">
              <a:extLst>
                <a:ext uri="{FF2B5EF4-FFF2-40B4-BE49-F238E27FC236}">
                  <a16:creationId xmlns:a16="http://schemas.microsoft.com/office/drawing/2014/main" id="{EAB24CC8-78E6-4CC9-A33D-D2EE7C9CF921}"/>
                </a:ext>
              </a:extLst>
            </p:cNvPr>
            <p:cNvSpPr/>
            <p:nvPr/>
          </p:nvSpPr>
          <p:spPr>
            <a:xfrm>
              <a:off x="11331391" y="824262"/>
              <a:ext cx="674401" cy="351169"/>
            </a:xfrm>
            <a:custGeom>
              <a:avLst/>
              <a:gdLst>
                <a:gd name="connsiteX0" fmla="*/ 338470 w 674401"/>
                <a:gd name="connsiteY0" fmla="*/ 234324 h 351169"/>
                <a:gd name="connsiteX1" fmla="*/ 337201 w 674401"/>
                <a:gd name="connsiteY1" fmla="*/ 233689 h 351169"/>
                <a:gd name="connsiteX2" fmla="*/ 168283 w 674401"/>
                <a:gd name="connsiteY2" fmla="*/ 351169 h 351169"/>
                <a:gd name="connsiteX3" fmla="*/ 0 w 674401"/>
                <a:gd name="connsiteY3" fmla="*/ 233689 h 351169"/>
                <a:gd name="connsiteX4" fmla="*/ 337201 w 674401"/>
                <a:gd name="connsiteY4" fmla="*/ 0 h 351169"/>
                <a:gd name="connsiteX5" fmla="*/ 674401 w 674401"/>
                <a:gd name="connsiteY5" fmla="*/ 233689 h 351169"/>
                <a:gd name="connsiteX6" fmla="*/ 506753 w 674401"/>
                <a:gd name="connsiteY6" fmla="*/ 35053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8470" y="234324"/>
                  </a:move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lnTo>
                    <a:pt x="337201" y="0"/>
                  </a:lnTo>
                  <a:lnTo>
                    <a:pt x="674401" y="233689"/>
                  </a:lnTo>
                  <a:lnTo>
                    <a:pt x="506753" y="35053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F71FF9DE-63B5-491B-9E38-500A6B3542FB}"/>
                </a:ext>
              </a:extLst>
            </p:cNvPr>
            <p:cNvSpPr/>
            <p:nvPr/>
          </p:nvSpPr>
          <p:spPr>
            <a:xfrm>
              <a:off x="11330121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38F6A2B3-20B0-4B23-8F7C-5B7C31796F5A}"/>
                </a:ext>
              </a:extLst>
            </p:cNvPr>
            <p:cNvSpPr/>
            <p:nvPr/>
          </p:nvSpPr>
          <p:spPr>
            <a:xfrm>
              <a:off x="11331391" y="469283"/>
              <a:ext cx="334025" cy="231784"/>
            </a:xfrm>
            <a:custGeom>
              <a:avLst/>
              <a:gdLst>
                <a:gd name="connsiteX0" fmla="*/ 166377 w 334025"/>
                <a:gd name="connsiteY0" fmla="*/ 231784 h 231784"/>
                <a:gd name="connsiteX1" fmla="*/ 0 w 334025"/>
                <a:gd name="connsiteY1" fmla="*/ 115575 h 231784"/>
                <a:gd name="connsiteX2" fmla="*/ 166377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7" y="231784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6" name="Freeform: Shape 315">
              <a:extLst>
                <a:ext uri="{FF2B5EF4-FFF2-40B4-BE49-F238E27FC236}">
                  <a16:creationId xmlns:a16="http://schemas.microsoft.com/office/drawing/2014/main" id="{619AF764-A941-44E8-AEF1-4D7FECBA0A40}"/>
                </a:ext>
              </a:extLst>
            </p:cNvPr>
            <p:cNvSpPr/>
            <p:nvPr/>
          </p:nvSpPr>
          <p:spPr>
            <a:xfrm>
              <a:off x="11161203" y="352439"/>
              <a:ext cx="333390" cy="464203"/>
            </a:xfrm>
            <a:custGeom>
              <a:avLst/>
              <a:gdLst>
                <a:gd name="connsiteX0" fmla="*/ 166377 w 333390"/>
                <a:gd name="connsiteY0" fmla="*/ 231149 h 464203"/>
                <a:gd name="connsiteX1" fmla="*/ 165743 w 333390"/>
                <a:gd name="connsiteY1" fmla="*/ 231784 h 464203"/>
                <a:gd name="connsiteX2" fmla="*/ 165743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6377" y="231149"/>
                  </a:moveTo>
                  <a:lnTo>
                    <a:pt x="165743" y="231784"/>
                  </a:lnTo>
                  <a:lnTo>
                    <a:pt x="165743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7" name="Freeform: Shape 316">
              <a:extLst>
                <a:ext uri="{FF2B5EF4-FFF2-40B4-BE49-F238E27FC236}">
                  <a16:creationId xmlns:a16="http://schemas.microsoft.com/office/drawing/2014/main" id="{AD9B25C9-F2B6-47EC-AEF7-81B1F4F91993}"/>
                </a:ext>
              </a:extLst>
            </p:cNvPr>
            <p:cNvSpPr/>
            <p:nvPr/>
          </p:nvSpPr>
          <p:spPr>
            <a:xfrm>
              <a:off x="10649369" y="588668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0 w 337200"/>
                <a:gd name="connsiteY1" fmla="*/ 466109 h 466108"/>
                <a:gd name="connsiteX2" fmla="*/ 0 w 337200"/>
                <a:gd name="connsiteY2" fmla="*/ 232419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C85E8ED8-8E8F-4A34-B38A-6943F1CFFFE6}"/>
                </a:ext>
              </a:extLst>
            </p:cNvPr>
            <p:cNvSpPr/>
            <p:nvPr/>
          </p:nvSpPr>
          <p:spPr>
            <a:xfrm>
              <a:off x="10651274" y="469283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0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0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id="{F1DD2135-868C-4A52-B10A-DCC4100F5FE7}"/>
                </a:ext>
              </a:extLst>
            </p:cNvPr>
            <p:cNvSpPr/>
            <p:nvPr/>
          </p:nvSpPr>
          <p:spPr>
            <a:xfrm>
              <a:off x="10480451" y="352439"/>
              <a:ext cx="333390" cy="464203"/>
            </a:xfrm>
            <a:custGeom>
              <a:avLst/>
              <a:gdLst>
                <a:gd name="connsiteX0" fmla="*/ 166378 w 333390"/>
                <a:gd name="connsiteY0" fmla="*/ 231149 h 464203"/>
                <a:gd name="connsiteX1" fmla="*/ 165743 w 333390"/>
                <a:gd name="connsiteY1" fmla="*/ 231784 h 464203"/>
                <a:gd name="connsiteX2" fmla="*/ 165743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6378" y="231149"/>
                  </a:moveTo>
                  <a:lnTo>
                    <a:pt x="165743" y="231784"/>
                  </a:lnTo>
                  <a:lnTo>
                    <a:pt x="165743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0" name="Freeform: Shape 319">
              <a:extLst>
                <a:ext uri="{FF2B5EF4-FFF2-40B4-BE49-F238E27FC236}">
                  <a16:creationId xmlns:a16="http://schemas.microsoft.com/office/drawing/2014/main" id="{1D8467DC-9828-478B-A9D8-CD3DF612D027}"/>
                </a:ext>
              </a:extLst>
            </p:cNvPr>
            <p:cNvSpPr/>
            <p:nvPr/>
          </p:nvSpPr>
          <p:spPr>
            <a:xfrm>
              <a:off x="9968617" y="588668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635 w 337200"/>
                <a:gd name="connsiteY1" fmla="*/ 466109 h 466108"/>
                <a:gd name="connsiteX2" fmla="*/ 0 w 337200"/>
                <a:gd name="connsiteY2" fmla="*/ 232419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635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1" name="Freeform: Shape 320">
              <a:extLst>
                <a:ext uri="{FF2B5EF4-FFF2-40B4-BE49-F238E27FC236}">
                  <a16:creationId xmlns:a16="http://schemas.microsoft.com/office/drawing/2014/main" id="{01C9BBF7-8F50-42C1-AC9D-783DF95871F8}"/>
                </a:ext>
              </a:extLst>
            </p:cNvPr>
            <p:cNvSpPr/>
            <p:nvPr/>
          </p:nvSpPr>
          <p:spPr>
            <a:xfrm>
              <a:off x="9970522" y="469283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BA205240-8FAD-4B1B-9D10-7D0DD93F71BE}"/>
                </a:ext>
              </a:extLst>
            </p:cNvPr>
            <p:cNvSpPr/>
            <p:nvPr/>
          </p:nvSpPr>
          <p:spPr>
            <a:xfrm>
              <a:off x="9800334" y="352439"/>
              <a:ext cx="332755" cy="464203"/>
            </a:xfrm>
            <a:custGeom>
              <a:avLst/>
              <a:gdLst>
                <a:gd name="connsiteX0" fmla="*/ 165743 w 332755"/>
                <a:gd name="connsiteY0" fmla="*/ 231149 h 464203"/>
                <a:gd name="connsiteX1" fmla="*/ 165108 w 332755"/>
                <a:gd name="connsiteY1" fmla="*/ 231784 h 464203"/>
                <a:gd name="connsiteX2" fmla="*/ 165108 w 332755"/>
                <a:gd name="connsiteY2" fmla="*/ 464204 h 464203"/>
                <a:gd name="connsiteX3" fmla="*/ 0 w 332755"/>
                <a:gd name="connsiteY3" fmla="*/ 349264 h 464203"/>
                <a:gd name="connsiteX4" fmla="*/ 0 w 332755"/>
                <a:gd name="connsiteY4" fmla="*/ 116210 h 464203"/>
                <a:gd name="connsiteX5" fmla="*/ 167013 w 332755"/>
                <a:gd name="connsiteY5" fmla="*/ 0 h 464203"/>
                <a:gd name="connsiteX6" fmla="*/ 332755 w 332755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322A5BEE-4B57-4D0E-AF35-89AB8F8DB784}"/>
                </a:ext>
              </a:extLst>
            </p:cNvPr>
            <p:cNvSpPr/>
            <p:nvPr/>
          </p:nvSpPr>
          <p:spPr>
            <a:xfrm>
              <a:off x="9288500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5FEEC27D-23FD-4C40-A68B-D4E12CF89DDE}"/>
                </a:ext>
              </a:extLst>
            </p:cNvPr>
            <p:cNvSpPr/>
            <p:nvPr/>
          </p:nvSpPr>
          <p:spPr>
            <a:xfrm>
              <a:off x="9289770" y="469283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5" name="Freeform: Shape 324">
              <a:extLst>
                <a:ext uri="{FF2B5EF4-FFF2-40B4-BE49-F238E27FC236}">
                  <a16:creationId xmlns:a16="http://schemas.microsoft.com/office/drawing/2014/main" id="{1B0B939D-F51D-4154-AD24-9EE54D6D4C0D}"/>
                </a:ext>
              </a:extLst>
            </p:cNvPr>
            <p:cNvSpPr/>
            <p:nvPr/>
          </p:nvSpPr>
          <p:spPr>
            <a:xfrm>
              <a:off x="9119582" y="352439"/>
              <a:ext cx="332755" cy="464203"/>
            </a:xfrm>
            <a:custGeom>
              <a:avLst/>
              <a:gdLst>
                <a:gd name="connsiteX0" fmla="*/ 165743 w 332755"/>
                <a:gd name="connsiteY0" fmla="*/ 231149 h 464203"/>
                <a:gd name="connsiteX1" fmla="*/ 165108 w 332755"/>
                <a:gd name="connsiteY1" fmla="*/ 231784 h 464203"/>
                <a:gd name="connsiteX2" fmla="*/ 165108 w 332755"/>
                <a:gd name="connsiteY2" fmla="*/ 464204 h 464203"/>
                <a:gd name="connsiteX3" fmla="*/ 0 w 332755"/>
                <a:gd name="connsiteY3" fmla="*/ 349264 h 464203"/>
                <a:gd name="connsiteX4" fmla="*/ 0 w 332755"/>
                <a:gd name="connsiteY4" fmla="*/ 116210 h 464203"/>
                <a:gd name="connsiteX5" fmla="*/ 167013 w 332755"/>
                <a:gd name="connsiteY5" fmla="*/ 0 h 464203"/>
                <a:gd name="connsiteX6" fmla="*/ 332756 w 332755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6" name="Freeform: Shape 325">
              <a:extLst>
                <a:ext uri="{FF2B5EF4-FFF2-40B4-BE49-F238E27FC236}">
                  <a16:creationId xmlns:a16="http://schemas.microsoft.com/office/drawing/2014/main" id="{0CA2A3FE-25EB-47BF-BF7E-B541ABD3676D}"/>
                </a:ext>
              </a:extLst>
            </p:cNvPr>
            <p:cNvSpPr/>
            <p:nvPr/>
          </p:nvSpPr>
          <p:spPr>
            <a:xfrm>
              <a:off x="8607749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7" name="Freeform: Shape 326">
              <a:extLst>
                <a:ext uri="{FF2B5EF4-FFF2-40B4-BE49-F238E27FC236}">
                  <a16:creationId xmlns:a16="http://schemas.microsoft.com/office/drawing/2014/main" id="{5ECC458B-B22A-4FE8-8ED4-52551F8B1991}"/>
                </a:ext>
              </a:extLst>
            </p:cNvPr>
            <p:cNvSpPr/>
            <p:nvPr/>
          </p:nvSpPr>
          <p:spPr>
            <a:xfrm>
              <a:off x="8609018" y="469283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8" name="Freeform: Shape 327">
              <a:extLst>
                <a:ext uri="{FF2B5EF4-FFF2-40B4-BE49-F238E27FC236}">
                  <a16:creationId xmlns:a16="http://schemas.microsoft.com/office/drawing/2014/main" id="{DA0E7B5C-2EA2-43DD-A2A8-FB6B2968FD68}"/>
                </a:ext>
              </a:extLst>
            </p:cNvPr>
            <p:cNvSpPr/>
            <p:nvPr/>
          </p:nvSpPr>
          <p:spPr>
            <a:xfrm>
              <a:off x="8438830" y="352439"/>
              <a:ext cx="332755" cy="464203"/>
            </a:xfrm>
            <a:custGeom>
              <a:avLst/>
              <a:gdLst>
                <a:gd name="connsiteX0" fmla="*/ 165743 w 332755"/>
                <a:gd name="connsiteY0" fmla="*/ 231149 h 464203"/>
                <a:gd name="connsiteX1" fmla="*/ 165108 w 332755"/>
                <a:gd name="connsiteY1" fmla="*/ 231784 h 464203"/>
                <a:gd name="connsiteX2" fmla="*/ 165108 w 332755"/>
                <a:gd name="connsiteY2" fmla="*/ 464204 h 464203"/>
                <a:gd name="connsiteX3" fmla="*/ 0 w 332755"/>
                <a:gd name="connsiteY3" fmla="*/ 349264 h 464203"/>
                <a:gd name="connsiteX4" fmla="*/ 0 w 332755"/>
                <a:gd name="connsiteY4" fmla="*/ 116210 h 464203"/>
                <a:gd name="connsiteX5" fmla="*/ 167013 w 332755"/>
                <a:gd name="connsiteY5" fmla="*/ 0 h 464203"/>
                <a:gd name="connsiteX6" fmla="*/ 332756 w 332755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9" name="Freeform: Shape 328">
              <a:extLst>
                <a:ext uri="{FF2B5EF4-FFF2-40B4-BE49-F238E27FC236}">
                  <a16:creationId xmlns:a16="http://schemas.microsoft.com/office/drawing/2014/main" id="{8A4AD487-ED68-4120-85B8-C939A00C48FD}"/>
                </a:ext>
              </a:extLst>
            </p:cNvPr>
            <p:cNvSpPr/>
            <p:nvPr/>
          </p:nvSpPr>
          <p:spPr>
            <a:xfrm>
              <a:off x="7926997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0" name="Freeform: Shape 329">
              <a:extLst>
                <a:ext uri="{FF2B5EF4-FFF2-40B4-BE49-F238E27FC236}">
                  <a16:creationId xmlns:a16="http://schemas.microsoft.com/office/drawing/2014/main" id="{20440B16-AAB7-4181-8010-99E1D73992A8}"/>
                </a:ext>
              </a:extLst>
            </p:cNvPr>
            <p:cNvSpPr/>
            <p:nvPr/>
          </p:nvSpPr>
          <p:spPr>
            <a:xfrm>
              <a:off x="7928267" y="469283"/>
              <a:ext cx="334025" cy="231784"/>
            </a:xfrm>
            <a:custGeom>
              <a:avLst/>
              <a:gdLst>
                <a:gd name="connsiteX0" fmla="*/ 166377 w 334025"/>
                <a:gd name="connsiteY0" fmla="*/ 231784 h 231784"/>
                <a:gd name="connsiteX1" fmla="*/ 0 w 334025"/>
                <a:gd name="connsiteY1" fmla="*/ 115575 h 231784"/>
                <a:gd name="connsiteX2" fmla="*/ 166377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7" y="231784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1" name="Freeform: Shape 330">
              <a:extLst>
                <a:ext uri="{FF2B5EF4-FFF2-40B4-BE49-F238E27FC236}">
                  <a16:creationId xmlns:a16="http://schemas.microsoft.com/office/drawing/2014/main" id="{BBDBE921-3C27-4DD6-95A6-008B42B1DAD7}"/>
                </a:ext>
              </a:extLst>
            </p:cNvPr>
            <p:cNvSpPr/>
            <p:nvPr/>
          </p:nvSpPr>
          <p:spPr>
            <a:xfrm>
              <a:off x="7758079" y="352439"/>
              <a:ext cx="333390" cy="464203"/>
            </a:xfrm>
            <a:custGeom>
              <a:avLst/>
              <a:gdLst>
                <a:gd name="connsiteX0" fmla="*/ 165743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2" name="Freeform: Shape 331">
              <a:extLst>
                <a:ext uri="{FF2B5EF4-FFF2-40B4-BE49-F238E27FC236}">
                  <a16:creationId xmlns:a16="http://schemas.microsoft.com/office/drawing/2014/main" id="{2C7BA4D6-8553-4B07-8C99-5F4CF1C1E08E}"/>
                </a:ext>
              </a:extLst>
            </p:cNvPr>
            <p:cNvSpPr/>
            <p:nvPr/>
          </p:nvSpPr>
          <p:spPr>
            <a:xfrm>
              <a:off x="7246245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607DF843-BD19-4F36-803A-B2D1E2F53A4D}"/>
                </a:ext>
              </a:extLst>
            </p:cNvPr>
            <p:cNvSpPr/>
            <p:nvPr/>
          </p:nvSpPr>
          <p:spPr>
            <a:xfrm>
              <a:off x="7247515" y="469283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4" name="Freeform: Shape 333">
              <a:extLst>
                <a:ext uri="{FF2B5EF4-FFF2-40B4-BE49-F238E27FC236}">
                  <a16:creationId xmlns:a16="http://schemas.microsoft.com/office/drawing/2014/main" id="{A244F2A2-47F2-4F26-B8B3-083FF159DB37}"/>
                </a:ext>
              </a:extLst>
            </p:cNvPr>
            <p:cNvSpPr/>
            <p:nvPr/>
          </p:nvSpPr>
          <p:spPr>
            <a:xfrm>
              <a:off x="7077327" y="352439"/>
              <a:ext cx="333390" cy="464203"/>
            </a:xfrm>
            <a:custGeom>
              <a:avLst/>
              <a:gdLst>
                <a:gd name="connsiteX0" fmla="*/ 165743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5" name="Freeform: Shape 334">
              <a:extLst>
                <a:ext uri="{FF2B5EF4-FFF2-40B4-BE49-F238E27FC236}">
                  <a16:creationId xmlns:a16="http://schemas.microsoft.com/office/drawing/2014/main" id="{14825A9D-8EC5-4CF7-843E-03DA8BD8CFC7}"/>
                </a:ext>
              </a:extLst>
            </p:cNvPr>
            <p:cNvSpPr/>
            <p:nvPr/>
          </p:nvSpPr>
          <p:spPr>
            <a:xfrm>
              <a:off x="6565493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6" name="Freeform: Shape 335">
              <a:extLst>
                <a:ext uri="{FF2B5EF4-FFF2-40B4-BE49-F238E27FC236}">
                  <a16:creationId xmlns:a16="http://schemas.microsoft.com/office/drawing/2014/main" id="{2BDA321A-68DA-48D8-94DC-D2A114EC17FB}"/>
                </a:ext>
              </a:extLst>
            </p:cNvPr>
            <p:cNvSpPr/>
            <p:nvPr/>
          </p:nvSpPr>
          <p:spPr>
            <a:xfrm>
              <a:off x="6566763" y="469283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58F5EE14-50AD-4C48-B5AF-19129C00B31F}"/>
                </a:ext>
              </a:extLst>
            </p:cNvPr>
            <p:cNvSpPr/>
            <p:nvPr/>
          </p:nvSpPr>
          <p:spPr>
            <a:xfrm>
              <a:off x="6396575" y="352439"/>
              <a:ext cx="333390" cy="464203"/>
            </a:xfrm>
            <a:custGeom>
              <a:avLst/>
              <a:gdLst>
                <a:gd name="connsiteX0" fmla="*/ 165743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705B77C8-5815-4FF6-9FD0-5E6D3D6285D5}"/>
                </a:ext>
              </a:extLst>
            </p:cNvPr>
            <p:cNvSpPr/>
            <p:nvPr/>
          </p:nvSpPr>
          <p:spPr>
            <a:xfrm>
              <a:off x="5884741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27F4AA98-C6A3-41D0-A117-5F7B84D4FE7D}"/>
                </a:ext>
              </a:extLst>
            </p:cNvPr>
            <p:cNvSpPr/>
            <p:nvPr/>
          </p:nvSpPr>
          <p:spPr>
            <a:xfrm>
              <a:off x="5886011" y="469283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26584816-7D52-4E40-ABB6-7DDEF7909140}"/>
                </a:ext>
              </a:extLst>
            </p:cNvPr>
            <p:cNvSpPr/>
            <p:nvPr/>
          </p:nvSpPr>
          <p:spPr>
            <a:xfrm>
              <a:off x="5715823" y="352439"/>
              <a:ext cx="333390" cy="464203"/>
            </a:xfrm>
            <a:custGeom>
              <a:avLst/>
              <a:gdLst>
                <a:gd name="connsiteX0" fmla="*/ 165743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B8129D41-1CA7-4C41-B1C6-C933F34C45A8}"/>
                </a:ext>
              </a:extLst>
            </p:cNvPr>
            <p:cNvSpPr/>
            <p:nvPr/>
          </p:nvSpPr>
          <p:spPr>
            <a:xfrm>
              <a:off x="11331391" y="3662191"/>
              <a:ext cx="674401" cy="351168"/>
            </a:xfrm>
            <a:custGeom>
              <a:avLst/>
              <a:gdLst>
                <a:gd name="connsiteX0" fmla="*/ 338470 w 674401"/>
                <a:gd name="connsiteY0" fmla="*/ 234959 h 351168"/>
                <a:gd name="connsiteX1" fmla="*/ 337201 w 674401"/>
                <a:gd name="connsiteY1" fmla="*/ 234324 h 351168"/>
                <a:gd name="connsiteX2" fmla="*/ 168283 w 674401"/>
                <a:gd name="connsiteY2" fmla="*/ 351169 h 351168"/>
                <a:gd name="connsiteX3" fmla="*/ 0 w 674401"/>
                <a:gd name="connsiteY3" fmla="*/ 234324 h 351168"/>
                <a:gd name="connsiteX4" fmla="*/ 337201 w 674401"/>
                <a:gd name="connsiteY4" fmla="*/ 0 h 351168"/>
                <a:gd name="connsiteX5" fmla="*/ 674401 w 674401"/>
                <a:gd name="connsiteY5" fmla="*/ 234324 h 351168"/>
                <a:gd name="connsiteX6" fmla="*/ 506753 w 674401"/>
                <a:gd name="connsiteY6" fmla="*/ 351169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8470" y="234959"/>
                  </a:move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1" y="234324"/>
                  </a:lnTo>
                  <a:lnTo>
                    <a:pt x="506753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3BE9D69C-2B49-4F24-B07B-26A0241FAB64}"/>
                </a:ext>
              </a:extLst>
            </p:cNvPr>
            <p:cNvSpPr/>
            <p:nvPr/>
          </p:nvSpPr>
          <p:spPr>
            <a:xfrm>
              <a:off x="11671767" y="2598524"/>
              <a:ext cx="334025" cy="231149"/>
            </a:xfrm>
            <a:custGeom>
              <a:avLst/>
              <a:gdLst>
                <a:gd name="connsiteX0" fmla="*/ 166377 w 334025"/>
                <a:gd name="connsiteY0" fmla="*/ 231149 h 231149"/>
                <a:gd name="connsiteX1" fmla="*/ 0 w 334025"/>
                <a:gd name="connsiteY1" fmla="*/ 115575 h 231149"/>
                <a:gd name="connsiteX2" fmla="*/ 166377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7" y="231149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3" name="Freeform: Shape 342">
              <a:extLst>
                <a:ext uri="{FF2B5EF4-FFF2-40B4-BE49-F238E27FC236}">
                  <a16:creationId xmlns:a16="http://schemas.microsoft.com/office/drawing/2014/main" id="{B4FF07C2-A56F-4252-933C-4C4044641410}"/>
                </a:ext>
              </a:extLst>
            </p:cNvPr>
            <p:cNvSpPr/>
            <p:nvPr/>
          </p:nvSpPr>
          <p:spPr>
            <a:xfrm>
              <a:off x="11501579" y="2481679"/>
              <a:ext cx="333390" cy="463568"/>
            </a:xfrm>
            <a:custGeom>
              <a:avLst/>
              <a:gdLst>
                <a:gd name="connsiteX0" fmla="*/ 166378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E25E20D0-36C1-4638-A03E-DF38DE0F273A}"/>
                </a:ext>
              </a:extLst>
            </p:cNvPr>
            <p:cNvSpPr/>
            <p:nvPr/>
          </p:nvSpPr>
          <p:spPr>
            <a:xfrm>
              <a:off x="11331391" y="2242909"/>
              <a:ext cx="674401" cy="351804"/>
            </a:xfrm>
            <a:custGeom>
              <a:avLst/>
              <a:gdLst>
                <a:gd name="connsiteX0" fmla="*/ 338470 w 674401"/>
                <a:gd name="connsiteY0" fmla="*/ 234959 h 351804"/>
                <a:gd name="connsiteX1" fmla="*/ 337201 w 674401"/>
                <a:gd name="connsiteY1" fmla="*/ 234324 h 351804"/>
                <a:gd name="connsiteX2" fmla="*/ 168283 w 674401"/>
                <a:gd name="connsiteY2" fmla="*/ 351804 h 351804"/>
                <a:gd name="connsiteX3" fmla="*/ 0 w 674401"/>
                <a:gd name="connsiteY3" fmla="*/ 234324 h 351804"/>
                <a:gd name="connsiteX4" fmla="*/ 337201 w 674401"/>
                <a:gd name="connsiteY4" fmla="*/ 0 h 351804"/>
                <a:gd name="connsiteX5" fmla="*/ 674401 w 674401"/>
                <a:gd name="connsiteY5" fmla="*/ 234324 h 351804"/>
                <a:gd name="connsiteX6" fmla="*/ 506753 w 674401"/>
                <a:gd name="connsiteY6" fmla="*/ 351169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8470" y="234959"/>
                  </a:move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1" y="234324"/>
                  </a:lnTo>
                  <a:lnTo>
                    <a:pt x="506753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8ED6B9EE-3D7D-4C6E-8368-7699765586B4}"/>
                </a:ext>
              </a:extLst>
            </p:cNvPr>
            <p:cNvSpPr/>
            <p:nvPr/>
          </p:nvSpPr>
          <p:spPr>
            <a:xfrm>
              <a:off x="11841320" y="1061762"/>
              <a:ext cx="165742" cy="229244"/>
            </a:xfrm>
            <a:custGeom>
              <a:avLst/>
              <a:gdLst>
                <a:gd name="connsiteX0" fmla="*/ 0 w 165742"/>
                <a:gd name="connsiteY0" fmla="*/ 114940 h 229244"/>
                <a:gd name="connsiteX1" fmla="*/ 165743 w 165742"/>
                <a:gd name="connsiteY1" fmla="*/ 0 h 229244"/>
                <a:gd name="connsiteX2" fmla="*/ 165743 w 165742"/>
                <a:gd name="connsiteY2" fmla="*/ 229244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0" y="114940"/>
                  </a:moveTo>
                  <a:lnTo>
                    <a:pt x="165743" y="0"/>
                  </a:lnTo>
                  <a:lnTo>
                    <a:pt x="165743" y="22924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9766A64A-97BE-48E1-A87D-7659FB265E73}"/>
                </a:ext>
              </a:extLst>
            </p:cNvPr>
            <p:cNvSpPr/>
            <p:nvPr/>
          </p:nvSpPr>
          <p:spPr>
            <a:xfrm>
              <a:off x="11670497" y="352439"/>
              <a:ext cx="336565" cy="702338"/>
            </a:xfrm>
            <a:custGeom>
              <a:avLst/>
              <a:gdLst>
                <a:gd name="connsiteX0" fmla="*/ 0 w 336565"/>
                <a:gd name="connsiteY0" fmla="*/ 468014 h 702338"/>
                <a:gd name="connsiteX1" fmla="*/ 0 w 336565"/>
                <a:gd name="connsiteY1" fmla="*/ 0 h 702338"/>
                <a:gd name="connsiteX2" fmla="*/ 167648 w 336565"/>
                <a:gd name="connsiteY2" fmla="*/ 116210 h 702338"/>
                <a:gd name="connsiteX3" fmla="*/ 167648 w 336565"/>
                <a:gd name="connsiteY3" fmla="*/ 351169 h 702338"/>
                <a:gd name="connsiteX4" fmla="*/ 336566 w 336565"/>
                <a:gd name="connsiteY4" fmla="*/ 468649 h 702338"/>
                <a:gd name="connsiteX5" fmla="*/ 336566 w 336565"/>
                <a:gd name="connsiteY5" fmla="*/ 702338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0" y="468014"/>
                  </a:moveTo>
                  <a:lnTo>
                    <a:pt x="0" y="0"/>
                  </a:lnTo>
                  <a:lnTo>
                    <a:pt x="167648" y="116210"/>
                  </a:ln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69AFAE1E-BA2B-42C6-9F05-D63ED810A36C}"/>
                </a:ext>
              </a:extLst>
            </p:cNvPr>
            <p:cNvSpPr/>
            <p:nvPr/>
          </p:nvSpPr>
          <p:spPr>
            <a:xfrm>
              <a:off x="11841955" y="352439"/>
              <a:ext cx="333390" cy="464203"/>
            </a:xfrm>
            <a:custGeom>
              <a:avLst/>
              <a:gdLst>
                <a:gd name="connsiteX0" fmla="*/ 166378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6378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D2DA1146-695D-4FCB-BB43-4DD3DA0CBE64}"/>
                </a:ext>
              </a:extLst>
            </p:cNvPr>
            <p:cNvSpPr/>
            <p:nvPr/>
          </p:nvSpPr>
          <p:spPr>
            <a:xfrm>
              <a:off x="12010873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2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2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AF8BD631-8EF0-44C1-856D-79F193AEE73C}"/>
                </a:ext>
              </a:extLst>
            </p:cNvPr>
            <p:cNvSpPr/>
            <p:nvPr/>
          </p:nvSpPr>
          <p:spPr>
            <a:xfrm>
              <a:off x="12012143" y="469283"/>
              <a:ext cx="179857" cy="231784"/>
            </a:xfrm>
            <a:custGeom>
              <a:avLst/>
              <a:gdLst>
                <a:gd name="connsiteX0" fmla="*/ 166377 w 179857"/>
                <a:gd name="connsiteY0" fmla="*/ 0 h 231784"/>
                <a:gd name="connsiteX1" fmla="*/ 179857 w 179857"/>
                <a:gd name="connsiteY1" fmla="*/ 9293 h 231784"/>
                <a:gd name="connsiteX2" fmla="*/ 179857 w 179857"/>
                <a:gd name="connsiteY2" fmla="*/ 222440 h 231784"/>
                <a:gd name="connsiteX3" fmla="*/ 166377 w 179857"/>
                <a:gd name="connsiteY3" fmla="*/ 231784 h 231784"/>
                <a:gd name="connsiteX4" fmla="*/ 0 w 179857"/>
                <a:gd name="connsiteY4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857" h="231784">
                  <a:moveTo>
                    <a:pt x="166377" y="0"/>
                  </a:moveTo>
                  <a:lnTo>
                    <a:pt x="179857" y="9293"/>
                  </a:lnTo>
                  <a:lnTo>
                    <a:pt x="179857" y="222440"/>
                  </a:lnTo>
                  <a:lnTo>
                    <a:pt x="166377" y="231784"/>
                  </a:lnTo>
                  <a:lnTo>
                    <a:pt x="0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BF9E852E-76A9-4AFA-982D-F5058F01E734}"/>
                </a:ext>
              </a:extLst>
            </p:cNvPr>
            <p:cNvSpPr/>
            <p:nvPr/>
          </p:nvSpPr>
          <p:spPr>
            <a:xfrm>
              <a:off x="11671767" y="114304"/>
              <a:ext cx="520233" cy="351169"/>
            </a:xfrm>
            <a:custGeom>
              <a:avLst/>
              <a:gdLst>
                <a:gd name="connsiteX0" fmla="*/ 337201 w 520233"/>
                <a:gd name="connsiteY0" fmla="*/ 0 h 351169"/>
                <a:gd name="connsiteX1" fmla="*/ 520233 w 520233"/>
                <a:gd name="connsiteY1" fmla="*/ 127191 h 351169"/>
                <a:gd name="connsiteX2" fmla="*/ 520233 w 520233"/>
                <a:gd name="connsiteY2" fmla="*/ 341190 h 351169"/>
                <a:gd name="connsiteX3" fmla="*/ 506753 w 520233"/>
                <a:gd name="connsiteY3" fmla="*/ 350534 h 351169"/>
                <a:gd name="connsiteX4" fmla="*/ 338470 w 520233"/>
                <a:gd name="connsiteY4" fmla="*/ 234959 h 351169"/>
                <a:gd name="connsiteX5" fmla="*/ 337201 w 520233"/>
                <a:gd name="connsiteY5" fmla="*/ 233689 h 351169"/>
                <a:gd name="connsiteX6" fmla="*/ 168283 w 520233"/>
                <a:gd name="connsiteY6" fmla="*/ 351169 h 351169"/>
                <a:gd name="connsiteX7" fmla="*/ 0 w 520233"/>
                <a:gd name="connsiteY7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0233" h="351169">
                  <a:moveTo>
                    <a:pt x="337201" y="0"/>
                  </a:moveTo>
                  <a:lnTo>
                    <a:pt x="520233" y="127191"/>
                  </a:lnTo>
                  <a:lnTo>
                    <a:pt x="520233" y="341190"/>
                  </a:lnTo>
                  <a:lnTo>
                    <a:pt x="506753" y="350534"/>
                  </a:lnTo>
                  <a:lnTo>
                    <a:pt x="338470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8278867D-9845-41CD-9C1B-2C0F9F088860}"/>
                </a:ext>
              </a:extLst>
            </p:cNvPr>
            <p:cNvSpPr/>
            <p:nvPr/>
          </p:nvSpPr>
          <p:spPr>
            <a:xfrm>
              <a:off x="11670496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C2D1F093-2428-48D1-AFBE-5FBE6F8942B6}"/>
                </a:ext>
              </a:extLst>
            </p:cNvPr>
            <p:cNvSpPr/>
            <p:nvPr/>
          </p:nvSpPr>
          <p:spPr>
            <a:xfrm>
              <a:off x="11500944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C48140A8-EB20-43FC-9AF3-93CA956AEFCF}"/>
                </a:ext>
              </a:extLst>
            </p:cNvPr>
            <p:cNvSpPr/>
            <p:nvPr/>
          </p:nvSpPr>
          <p:spPr>
            <a:xfrm>
              <a:off x="10991650" y="114304"/>
              <a:ext cx="673766" cy="351169"/>
            </a:xfrm>
            <a:custGeom>
              <a:avLst/>
              <a:gdLst>
                <a:gd name="connsiteX0" fmla="*/ 506118 w 673766"/>
                <a:gd name="connsiteY0" fmla="*/ 350534 h 351169"/>
                <a:gd name="connsiteX1" fmla="*/ 337836 w 673766"/>
                <a:gd name="connsiteY1" fmla="*/ 234959 h 351169"/>
                <a:gd name="connsiteX2" fmla="*/ 336566 w 673766"/>
                <a:gd name="connsiteY2" fmla="*/ 233689 h 351169"/>
                <a:gd name="connsiteX3" fmla="*/ 167647 w 673766"/>
                <a:gd name="connsiteY3" fmla="*/ 351169 h 351169"/>
                <a:gd name="connsiteX4" fmla="*/ 0 w 673766"/>
                <a:gd name="connsiteY4" fmla="*/ 234324 h 351169"/>
                <a:gd name="connsiteX5" fmla="*/ 336566 w 673766"/>
                <a:gd name="connsiteY5" fmla="*/ 0 h 351169"/>
                <a:gd name="connsiteX6" fmla="*/ 673766 w 673766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506118" y="350534"/>
                  </a:moveTo>
                  <a:lnTo>
                    <a:pt x="337836" y="234959"/>
                  </a:lnTo>
                  <a:lnTo>
                    <a:pt x="336566" y="233689"/>
                  </a:lnTo>
                  <a:lnTo>
                    <a:pt x="167647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B0F3385C-F6F0-4C33-8458-D8C90CE82D15}"/>
                </a:ext>
              </a:extLst>
            </p:cNvPr>
            <p:cNvSpPr/>
            <p:nvPr/>
          </p:nvSpPr>
          <p:spPr>
            <a:xfrm>
              <a:off x="10989744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B3E02B83-1125-4D5E-8F4E-884384991001}"/>
                </a:ext>
              </a:extLst>
            </p:cNvPr>
            <p:cNvSpPr/>
            <p:nvPr/>
          </p:nvSpPr>
          <p:spPr>
            <a:xfrm>
              <a:off x="10820192" y="351804"/>
              <a:ext cx="166377" cy="229879"/>
            </a:xfrm>
            <a:custGeom>
              <a:avLst/>
              <a:gdLst>
                <a:gd name="connsiteX0" fmla="*/ 166378 w 166377"/>
                <a:gd name="connsiteY0" fmla="*/ 229879 h 229879"/>
                <a:gd name="connsiteX1" fmla="*/ 0 w 166377"/>
                <a:gd name="connsiteY1" fmla="*/ 115575 h 229879"/>
                <a:gd name="connsiteX2" fmla="*/ 166378 w 166377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166378" y="229879"/>
                  </a:moveTo>
                  <a:lnTo>
                    <a:pt x="0" y="115575"/>
                  </a:lnTo>
                  <a:lnTo>
                    <a:pt x="166378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6089D650-0B12-4732-9F6A-6B5AC1A65BB1}"/>
                </a:ext>
              </a:extLst>
            </p:cNvPr>
            <p:cNvSpPr/>
            <p:nvPr/>
          </p:nvSpPr>
          <p:spPr>
            <a:xfrm>
              <a:off x="10310898" y="114304"/>
              <a:ext cx="673766" cy="351169"/>
            </a:xfrm>
            <a:custGeom>
              <a:avLst/>
              <a:gdLst>
                <a:gd name="connsiteX0" fmla="*/ 506119 w 673766"/>
                <a:gd name="connsiteY0" fmla="*/ 350534 h 351169"/>
                <a:gd name="connsiteX1" fmla="*/ 337836 w 673766"/>
                <a:gd name="connsiteY1" fmla="*/ 234959 h 351169"/>
                <a:gd name="connsiteX2" fmla="*/ 336566 w 673766"/>
                <a:gd name="connsiteY2" fmla="*/ 233689 h 351169"/>
                <a:gd name="connsiteX3" fmla="*/ 168283 w 673766"/>
                <a:gd name="connsiteY3" fmla="*/ 351169 h 351169"/>
                <a:gd name="connsiteX4" fmla="*/ 0 w 673766"/>
                <a:gd name="connsiteY4" fmla="*/ 234324 h 351169"/>
                <a:gd name="connsiteX5" fmla="*/ 336566 w 673766"/>
                <a:gd name="connsiteY5" fmla="*/ 0 h 351169"/>
                <a:gd name="connsiteX6" fmla="*/ 673766 w 673766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506119" y="350534"/>
                  </a:moveTo>
                  <a:lnTo>
                    <a:pt x="337836" y="234959"/>
                  </a:lnTo>
                  <a:lnTo>
                    <a:pt x="336566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A3FD1BDB-23E4-4746-B6DA-31C8A2085331}"/>
                </a:ext>
              </a:extLst>
            </p:cNvPr>
            <p:cNvSpPr/>
            <p:nvPr/>
          </p:nvSpPr>
          <p:spPr>
            <a:xfrm>
              <a:off x="10308993" y="0"/>
              <a:ext cx="337201" cy="344820"/>
            </a:xfrm>
            <a:custGeom>
              <a:avLst/>
              <a:gdLst>
                <a:gd name="connsiteX0" fmla="*/ 161673 w 337201"/>
                <a:gd name="connsiteY0" fmla="*/ 0 h 344820"/>
                <a:gd name="connsiteX1" fmla="*/ 337201 w 337201"/>
                <a:gd name="connsiteY1" fmla="*/ 0 h 344820"/>
                <a:gd name="connsiteX2" fmla="*/ 337201 w 337201"/>
                <a:gd name="connsiteY2" fmla="*/ 111130 h 344820"/>
                <a:gd name="connsiteX3" fmla="*/ 0 w 337201"/>
                <a:gd name="connsiteY3" fmla="*/ 344820 h 344820"/>
                <a:gd name="connsiteX4" fmla="*/ 0 w 337201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201" h="344820">
                  <a:moveTo>
                    <a:pt x="161673" y="0"/>
                  </a:moveTo>
                  <a:lnTo>
                    <a:pt x="337201" y="0"/>
                  </a:lnTo>
                  <a:lnTo>
                    <a:pt x="337201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75E73E8D-0CB2-4C98-997E-10FB17A4D86A}"/>
                </a:ext>
              </a:extLst>
            </p:cNvPr>
            <p:cNvSpPr/>
            <p:nvPr/>
          </p:nvSpPr>
          <p:spPr>
            <a:xfrm>
              <a:off x="10139440" y="351804"/>
              <a:ext cx="166377" cy="229879"/>
            </a:xfrm>
            <a:custGeom>
              <a:avLst/>
              <a:gdLst>
                <a:gd name="connsiteX0" fmla="*/ 166378 w 166377"/>
                <a:gd name="connsiteY0" fmla="*/ 229879 h 229879"/>
                <a:gd name="connsiteX1" fmla="*/ 0 w 166377"/>
                <a:gd name="connsiteY1" fmla="*/ 115575 h 229879"/>
                <a:gd name="connsiteX2" fmla="*/ 166378 w 166377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166378" y="229879"/>
                  </a:moveTo>
                  <a:lnTo>
                    <a:pt x="0" y="115575"/>
                  </a:lnTo>
                  <a:lnTo>
                    <a:pt x="166378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C3A0EF31-8BF9-470C-A4B4-392CAB6D6DEA}"/>
                </a:ext>
              </a:extLst>
            </p:cNvPr>
            <p:cNvSpPr/>
            <p:nvPr/>
          </p:nvSpPr>
          <p:spPr>
            <a:xfrm>
              <a:off x="9630146" y="114304"/>
              <a:ext cx="673766" cy="351169"/>
            </a:xfrm>
            <a:custGeom>
              <a:avLst/>
              <a:gdLst>
                <a:gd name="connsiteX0" fmla="*/ 506118 w 673766"/>
                <a:gd name="connsiteY0" fmla="*/ 350534 h 351169"/>
                <a:gd name="connsiteX1" fmla="*/ 337836 w 673766"/>
                <a:gd name="connsiteY1" fmla="*/ 234959 h 351169"/>
                <a:gd name="connsiteX2" fmla="*/ 337201 w 673766"/>
                <a:gd name="connsiteY2" fmla="*/ 233689 h 351169"/>
                <a:gd name="connsiteX3" fmla="*/ 168283 w 673766"/>
                <a:gd name="connsiteY3" fmla="*/ 351169 h 351169"/>
                <a:gd name="connsiteX4" fmla="*/ 0 w 673766"/>
                <a:gd name="connsiteY4" fmla="*/ 234324 h 351169"/>
                <a:gd name="connsiteX5" fmla="*/ 337201 w 673766"/>
                <a:gd name="connsiteY5" fmla="*/ 0 h 351169"/>
                <a:gd name="connsiteX6" fmla="*/ 673766 w 673766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506118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3766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8EF88757-211A-42D3-B430-A9E7602F78A8}"/>
                </a:ext>
              </a:extLst>
            </p:cNvPr>
            <p:cNvSpPr/>
            <p:nvPr userDrawn="1"/>
          </p:nvSpPr>
          <p:spPr>
            <a:xfrm>
              <a:off x="9628875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1" name="Freeform: Shape 360">
              <a:extLst>
                <a:ext uri="{FF2B5EF4-FFF2-40B4-BE49-F238E27FC236}">
                  <a16:creationId xmlns:a16="http://schemas.microsoft.com/office/drawing/2014/main" id="{010352C5-C01F-40B3-9403-CE6795763295}"/>
                </a:ext>
              </a:extLst>
            </p:cNvPr>
            <p:cNvSpPr/>
            <p:nvPr/>
          </p:nvSpPr>
          <p:spPr>
            <a:xfrm>
              <a:off x="9459323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2" name="Freeform: Shape 361">
              <a:extLst>
                <a:ext uri="{FF2B5EF4-FFF2-40B4-BE49-F238E27FC236}">
                  <a16:creationId xmlns:a16="http://schemas.microsoft.com/office/drawing/2014/main" id="{151814D9-77E1-4C5C-8B42-2DDFAAC5F123}"/>
                </a:ext>
              </a:extLst>
            </p:cNvPr>
            <p:cNvSpPr/>
            <p:nvPr userDrawn="1"/>
          </p:nvSpPr>
          <p:spPr>
            <a:xfrm>
              <a:off x="8949395" y="114304"/>
              <a:ext cx="673766" cy="351169"/>
            </a:xfrm>
            <a:custGeom>
              <a:avLst/>
              <a:gdLst>
                <a:gd name="connsiteX0" fmla="*/ 506119 w 673766"/>
                <a:gd name="connsiteY0" fmla="*/ 350534 h 351169"/>
                <a:gd name="connsiteX1" fmla="*/ 337836 w 673766"/>
                <a:gd name="connsiteY1" fmla="*/ 234959 h 351169"/>
                <a:gd name="connsiteX2" fmla="*/ 337201 w 673766"/>
                <a:gd name="connsiteY2" fmla="*/ 233689 h 351169"/>
                <a:gd name="connsiteX3" fmla="*/ 168283 w 673766"/>
                <a:gd name="connsiteY3" fmla="*/ 351169 h 351169"/>
                <a:gd name="connsiteX4" fmla="*/ 0 w 673766"/>
                <a:gd name="connsiteY4" fmla="*/ 234324 h 351169"/>
                <a:gd name="connsiteX5" fmla="*/ 337201 w 673766"/>
                <a:gd name="connsiteY5" fmla="*/ 0 h 351169"/>
                <a:gd name="connsiteX6" fmla="*/ 673766 w 673766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506119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3766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3" name="Freeform: Shape 362">
              <a:extLst>
                <a:ext uri="{FF2B5EF4-FFF2-40B4-BE49-F238E27FC236}">
                  <a16:creationId xmlns:a16="http://schemas.microsoft.com/office/drawing/2014/main" id="{2D465644-1F10-4B91-9D40-A96283500782}"/>
                </a:ext>
              </a:extLst>
            </p:cNvPr>
            <p:cNvSpPr/>
            <p:nvPr/>
          </p:nvSpPr>
          <p:spPr>
            <a:xfrm>
              <a:off x="8948123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4" name="Freeform: Shape 363">
              <a:extLst>
                <a:ext uri="{FF2B5EF4-FFF2-40B4-BE49-F238E27FC236}">
                  <a16:creationId xmlns:a16="http://schemas.microsoft.com/office/drawing/2014/main" id="{A159563C-ED59-4204-B09F-15A85D7EF919}"/>
                </a:ext>
              </a:extLst>
            </p:cNvPr>
            <p:cNvSpPr/>
            <p:nvPr/>
          </p:nvSpPr>
          <p:spPr>
            <a:xfrm>
              <a:off x="8778571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5" name="Freeform: Shape 364">
              <a:extLst>
                <a:ext uri="{FF2B5EF4-FFF2-40B4-BE49-F238E27FC236}">
                  <a16:creationId xmlns:a16="http://schemas.microsoft.com/office/drawing/2014/main" id="{2ED37143-7EC6-4544-92F1-59DC8DD29A7A}"/>
                </a:ext>
              </a:extLst>
            </p:cNvPr>
            <p:cNvSpPr/>
            <p:nvPr userDrawn="1"/>
          </p:nvSpPr>
          <p:spPr>
            <a:xfrm>
              <a:off x="8268643" y="114304"/>
              <a:ext cx="674401" cy="351169"/>
            </a:xfrm>
            <a:custGeom>
              <a:avLst/>
              <a:gdLst>
                <a:gd name="connsiteX0" fmla="*/ 506754 w 674401"/>
                <a:gd name="connsiteY0" fmla="*/ 350534 h 351169"/>
                <a:gd name="connsiteX1" fmla="*/ 337836 w 674401"/>
                <a:gd name="connsiteY1" fmla="*/ 234959 h 351169"/>
                <a:gd name="connsiteX2" fmla="*/ 337201 w 674401"/>
                <a:gd name="connsiteY2" fmla="*/ 233689 h 351169"/>
                <a:gd name="connsiteX3" fmla="*/ 168283 w 674401"/>
                <a:gd name="connsiteY3" fmla="*/ 351169 h 351169"/>
                <a:gd name="connsiteX4" fmla="*/ 0 w 674401"/>
                <a:gd name="connsiteY4" fmla="*/ 234324 h 351169"/>
                <a:gd name="connsiteX5" fmla="*/ 337201 w 674401"/>
                <a:gd name="connsiteY5" fmla="*/ 0 h 351169"/>
                <a:gd name="connsiteX6" fmla="*/ 674402 w 674401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506754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2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6" name="Freeform: Shape 365">
              <a:extLst>
                <a:ext uri="{FF2B5EF4-FFF2-40B4-BE49-F238E27FC236}">
                  <a16:creationId xmlns:a16="http://schemas.microsoft.com/office/drawing/2014/main" id="{3A007D98-3210-4F34-B99E-F4A2C476EA2B}"/>
                </a:ext>
              </a:extLst>
            </p:cNvPr>
            <p:cNvSpPr/>
            <p:nvPr userDrawn="1"/>
          </p:nvSpPr>
          <p:spPr>
            <a:xfrm>
              <a:off x="8267371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7" name="Freeform: Shape 366">
              <a:extLst>
                <a:ext uri="{FF2B5EF4-FFF2-40B4-BE49-F238E27FC236}">
                  <a16:creationId xmlns:a16="http://schemas.microsoft.com/office/drawing/2014/main" id="{0CEE2DAB-1C51-463E-978C-E52C3D3428DB}"/>
                </a:ext>
              </a:extLst>
            </p:cNvPr>
            <p:cNvSpPr/>
            <p:nvPr/>
          </p:nvSpPr>
          <p:spPr>
            <a:xfrm>
              <a:off x="8097819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8" name="Freeform: Shape 367">
              <a:extLst>
                <a:ext uri="{FF2B5EF4-FFF2-40B4-BE49-F238E27FC236}">
                  <a16:creationId xmlns:a16="http://schemas.microsoft.com/office/drawing/2014/main" id="{A535C535-6FE7-45F9-93BC-7A70BEE1B0BF}"/>
                </a:ext>
              </a:extLst>
            </p:cNvPr>
            <p:cNvSpPr/>
            <p:nvPr/>
          </p:nvSpPr>
          <p:spPr>
            <a:xfrm>
              <a:off x="7587891" y="114304"/>
              <a:ext cx="674401" cy="351169"/>
            </a:xfrm>
            <a:custGeom>
              <a:avLst/>
              <a:gdLst>
                <a:gd name="connsiteX0" fmla="*/ 506754 w 674401"/>
                <a:gd name="connsiteY0" fmla="*/ 350534 h 351169"/>
                <a:gd name="connsiteX1" fmla="*/ 337836 w 674401"/>
                <a:gd name="connsiteY1" fmla="*/ 234959 h 351169"/>
                <a:gd name="connsiteX2" fmla="*/ 337201 w 674401"/>
                <a:gd name="connsiteY2" fmla="*/ 233689 h 351169"/>
                <a:gd name="connsiteX3" fmla="*/ 168283 w 674401"/>
                <a:gd name="connsiteY3" fmla="*/ 351169 h 351169"/>
                <a:gd name="connsiteX4" fmla="*/ 0 w 674401"/>
                <a:gd name="connsiteY4" fmla="*/ 234324 h 351169"/>
                <a:gd name="connsiteX5" fmla="*/ 337201 w 674401"/>
                <a:gd name="connsiteY5" fmla="*/ 0 h 351169"/>
                <a:gd name="connsiteX6" fmla="*/ 674402 w 674401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506754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2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9" name="Freeform: Shape 368">
              <a:extLst>
                <a:ext uri="{FF2B5EF4-FFF2-40B4-BE49-F238E27FC236}">
                  <a16:creationId xmlns:a16="http://schemas.microsoft.com/office/drawing/2014/main" id="{A4434797-CD11-4664-96F3-F3533D6580FB}"/>
                </a:ext>
              </a:extLst>
            </p:cNvPr>
            <p:cNvSpPr/>
            <p:nvPr userDrawn="1"/>
          </p:nvSpPr>
          <p:spPr>
            <a:xfrm>
              <a:off x="7586620" y="0"/>
              <a:ext cx="336566" cy="344820"/>
            </a:xfrm>
            <a:custGeom>
              <a:avLst/>
              <a:gdLst>
                <a:gd name="connsiteX0" fmla="*/ 161369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9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0" name="Freeform: Shape 369">
              <a:extLst>
                <a:ext uri="{FF2B5EF4-FFF2-40B4-BE49-F238E27FC236}">
                  <a16:creationId xmlns:a16="http://schemas.microsoft.com/office/drawing/2014/main" id="{1DD0A4C6-EFD6-4D88-B861-897105EEE6F6}"/>
                </a:ext>
              </a:extLst>
            </p:cNvPr>
            <p:cNvSpPr/>
            <p:nvPr/>
          </p:nvSpPr>
          <p:spPr>
            <a:xfrm>
              <a:off x="7417068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1" name="Freeform: Shape 370">
              <a:extLst>
                <a:ext uri="{FF2B5EF4-FFF2-40B4-BE49-F238E27FC236}">
                  <a16:creationId xmlns:a16="http://schemas.microsoft.com/office/drawing/2014/main" id="{92179288-FCEF-4517-8E25-D248CA24437B}"/>
                </a:ext>
              </a:extLst>
            </p:cNvPr>
            <p:cNvSpPr/>
            <p:nvPr userDrawn="1"/>
          </p:nvSpPr>
          <p:spPr>
            <a:xfrm>
              <a:off x="6907139" y="114304"/>
              <a:ext cx="674401" cy="351169"/>
            </a:xfrm>
            <a:custGeom>
              <a:avLst/>
              <a:gdLst>
                <a:gd name="connsiteX0" fmla="*/ 506754 w 674401"/>
                <a:gd name="connsiteY0" fmla="*/ 350534 h 351169"/>
                <a:gd name="connsiteX1" fmla="*/ 337836 w 674401"/>
                <a:gd name="connsiteY1" fmla="*/ 234959 h 351169"/>
                <a:gd name="connsiteX2" fmla="*/ 337201 w 674401"/>
                <a:gd name="connsiteY2" fmla="*/ 233689 h 351169"/>
                <a:gd name="connsiteX3" fmla="*/ 168283 w 674401"/>
                <a:gd name="connsiteY3" fmla="*/ 351169 h 351169"/>
                <a:gd name="connsiteX4" fmla="*/ 0 w 674401"/>
                <a:gd name="connsiteY4" fmla="*/ 234324 h 351169"/>
                <a:gd name="connsiteX5" fmla="*/ 337201 w 674401"/>
                <a:gd name="connsiteY5" fmla="*/ 0 h 351169"/>
                <a:gd name="connsiteX6" fmla="*/ 674401 w 674401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506754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1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2" name="Freeform: Shape 371">
              <a:extLst>
                <a:ext uri="{FF2B5EF4-FFF2-40B4-BE49-F238E27FC236}">
                  <a16:creationId xmlns:a16="http://schemas.microsoft.com/office/drawing/2014/main" id="{E2023F14-AC0A-446C-A261-39C0404C5812}"/>
                </a:ext>
              </a:extLst>
            </p:cNvPr>
            <p:cNvSpPr/>
            <p:nvPr/>
          </p:nvSpPr>
          <p:spPr>
            <a:xfrm>
              <a:off x="6905868" y="0"/>
              <a:ext cx="336566" cy="344820"/>
            </a:xfrm>
            <a:custGeom>
              <a:avLst/>
              <a:gdLst>
                <a:gd name="connsiteX0" fmla="*/ 161369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9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3" name="Freeform: Shape 372">
              <a:extLst>
                <a:ext uri="{FF2B5EF4-FFF2-40B4-BE49-F238E27FC236}">
                  <a16:creationId xmlns:a16="http://schemas.microsoft.com/office/drawing/2014/main" id="{3B9A4A1F-27A7-4809-9137-6DE1AA963074}"/>
                </a:ext>
              </a:extLst>
            </p:cNvPr>
            <p:cNvSpPr/>
            <p:nvPr/>
          </p:nvSpPr>
          <p:spPr>
            <a:xfrm>
              <a:off x="6736316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4" name="Freeform: Shape 373">
              <a:extLst>
                <a:ext uri="{FF2B5EF4-FFF2-40B4-BE49-F238E27FC236}">
                  <a16:creationId xmlns:a16="http://schemas.microsoft.com/office/drawing/2014/main" id="{1A508872-D437-4AAE-A6BF-384A0F9DE3CA}"/>
                </a:ext>
              </a:extLst>
            </p:cNvPr>
            <p:cNvSpPr/>
            <p:nvPr/>
          </p:nvSpPr>
          <p:spPr>
            <a:xfrm>
              <a:off x="6226387" y="114304"/>
              <a:ext cx="674401" cy="351169"/>
            </a:xfrm>
            <a:custGeom>
              <a:avLst/>
              <a:gdLst>
                <a:gd name="connsiteX0" fmla="*/ 506754 w 674401"/>
                <a:gd name="connsiteY0" fmla="*/ 350534 h 351169"/>
                <a:gd name="connsiteX1" fmla="*/ 338471 w 674401"/>
                <a:gd name="connsiteY1" fmla="*/ 234959 h 351169"/>
                <a:gd name="connsiteX2" fmla="*/ 337201 w 674401"/>
                <a:gd name="connsiteY2" fmla="*/ 233689 h 351169"/>
                <a:gd name="connsiteX3" fmla="*/ 168283 w 674401"/>
                <a:gd name="connsiteY3" fmla="*/ 351169 h 351169"/>
                <a:gd name="connsiteX4" fmla="*/ 0 w 674401"/>
                <a:gd name="connsiteY4" fmla="*/ 234324 h 351169"/>
                <a:gd name="connsiteX5" fmla="*/ 337201 w 674401"/>
                <a:gd name="connsiteY5" fmla="*/ 0 h 351169"/>
                <a:gd name="connsiteX6" fmla="*/ 674402 w 674401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506754" y="350534"/>
                  </a:moveTo>
                  <a:lnTo>
                    <a:pt x="338471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2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5" name="Freeform: Shape 374">
              <a:extLst>
                <a:ext uri="{FF2B5EF4-FFF2-40B4-BE49-F238E27FC236}">
                  <a16:creationId xmlns:a16="http://schemas.microsoft.com/office/drawing/2014/main" id="{A96B18E4-DF96-43F9-BAD5-412F5147C0D3}"/>
                </a:ext>
              </a:extLst>
            </p:cNvPr>
            <p:cNvSpPr/>
            <p:nvPr/>
          </p:nvSpPr>
          <p:spPr>
            <a:xfrm>
              <a:off x="6055564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6" name="Freeform: Shape 375">
              <a:extLst>
                <a:ext uri="{FF2B5EF4-FFF2-40B4-BE49-F238E27FC236}">
                  <a16:creationId xmlns:a16="http://schemas.microsoft.com/office/drawing/2014/main" id="{8C1FFDA1-FD48-4A88-A990-D2FDA3D62DFC}"/>
                </a:ext>
              </a:extLst>
            </p:cNvPr>
            <p:cNvSpPr/>
            <p:nvPr/>
          </p:nvSpPr>
          <p:spPr>
            <a:xfrm>
              <a:off x="11670497" y="3190367"/>
              <a:ext cx="336565" cy="702973"/>
            </a:xfrm>
            <a:custGeom>
              <a:avLst/>
              <a:gdLst>
                <a:gd name="connsiteX0" fmla="*/ 0 w 336565"/>
                <a:gd name="connsiteY0" fmla="*/ 468649 h 702973"/>
                <a:gd name="connsiteX1" fmla="*/ 0 w 336565"/>
                <a:gd name="connsiteY1" fmla="*/ 0 h 702973"/>
                <a:gd name="connsiteX2" fmla="*/ 167648 w 336565"/>
                <a:gd name="connsiteY2" fmla="*/ 116845 h 702973"/>
                <a:gd name="connsiteX3" fmla="*/ 167648 w 336565"/>
                <a:gd name="connsiteY3" fmla="*/ 351804 h 702973"/>
                <a:gd name="connsiteX4" fmla="*/ 336566 w 336565"/>
                <a:gd name="connsiteY4" fmla="*/ 468649 h 702973"/>
                <a:gd name="connsiteX5" fmla="*/ 336566 w 336565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0" y="468649"/>
                  </a:moveTo>
                  <a:lnTo>
                    <a:pt x="0" y="0"/>
                  </a:lnTo>
                  <a:lnTo>
                    <a:pt x="167648" y="116845"/>
                  </a:ln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7" name="Freeform: Shape 376">
              <a:extLst>
                <a:ext uri="{FF2B5EF4-FFF2-40B4-BE49-F238E27FC236}">
                  <a16:creationId xmlns:a16="http://schemas.microsoft.com/office/drawing/2014/main" id="{C5B7005F-22C0-4AEF-AC6A-0F2F428A68D2}"/>
                </a:ext>
              </a:extLst>
            </p:cNvPr>
            <p:cNvSpPr/>
            <p:nvPr/>
          </p:nvSpPr>
          <p:spPr>
            <a:xfrm>
              <a:off x="11841955" y="3191002"/>
              <a:ext cx="333390" cy="463568"/>
            </a:xfrm>
            <a:custGeom>
              <a:avLst/>
              <a:gdLst>
                <a:gd name="connsiteX0" fmla="*/ 166378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8" name="Freeform: Shape 377">
              <a:extLst>
                <a:ext uri="{FF2B5EF4-FFF2-40B4-BE49-F238E27FC236}">
                  <a16:creationId xmlns:a16="http://schemas.microsoft.com/office/drawing/2014/main" id="{D81983A4-BE29-4A95-909E-7E65C8CA44F4}"/>
                </a:ext>
              </a:extLst>
            </p:cNvPr>
            <p:cNvSpPr/>
            <p:nvPr/>
          </p:nvSpPr>
          <p:spPr>
            <a:xfrm>
              <a:off x="12010873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9" name="Freeform: Shape 378">
              <a:extLst>
                <a:ext uri="{FF2B5EF4-FFF2-40B4-BE49-F238E27FC236}">
                  <a16:creationId xmlns:a16="http://schemas.microsoft.com/office/drawing/2014/main" id="{4CE6400B-0FC2-4700-9828-B12438946AF8}"/>
                </a:ext>
              </a:extLst>
            </p:cNvPr>
            <p:cNvSpPr/>
            <p:nvPr/>
          </p:nvSpPr>
          <p:spPr>
            <a:xfrm>
              <a:off x="12012143" y="3307847"/>
              <a:ext cx="179857" cy="231149"/>
            </a:xfrm>
            <a:custGeom>
              <a:avLst/>
              <a:gdLst>
                <a:gd name="connsiteX0" fmla="*/ 166377 w 179857"/>
                <a:gd name="connsiteY0" fmla="*/ 0 h 231149"/>
                <a:gd name="connsiteX1" fmla="*/ 179857 w 179857"/>
                <a:gd name="connsiteY1" fmla="*/ 9293 h 231149"/>
                <a:gd name="connsiteX2" fmla="*/ 179857 w 179857"/>
                <a:gd name="connsiteY2" fmla="*/ 221856 h 231149"/>
                <a:gd name="connsiteX3" fmla="*/ 166377 w 179857"/>
                <a:gd name="connsiteY3" fmla="*/ 231149 h 231149"/>
                <a:gd name="connsiteX4" fmla="*/ 0 w 179857"/>
                <a:gd name="connsiteY4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857" h="231149">
                  <a:moveTo>
                    <a:pt x="166377" y="0"/>
                  </a:moveTo>
                  <a:lnTo>
                    <a:pt x="179857" y="9293"/>
                  </a:lnTo>
                  <a:lnTo>
                    <a:pt x="179857" y="221856"/>
                  </a:lnTo>
                  <a:lnTo>
                    <a:pt x="166377" y="231149"/>
                  </a:lnTo>
                  <a:lnTo>
                    <a:pt x="0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0" name="Freeform: Shape 379">
              <a:extLst>
                <a:ext uri="{FF2B5EF4-FFF2-40B4-BE49-F238E27FC236}">
                  <a16:creationId xmlns:a16="http://schemas.microsoft.com/office/drawing/2014/main" id="{8D326F4A-8FB2-4511-8084-47F6E859F0E1}"/>
                </a:ext>
              </a:extLst>
            </p:cNvPr>
            <p:cNvSpPr/>
            <p:nvPr/>
          </p:nvSpPr>
          <p:spPr>
            <a:xfrm>
              <a:off x="11671767" y="2952868"/>
              <a:ext cx="520233" cy="351169"/>
            </a:xfrm>
            <a:custGeom>
              <a:avLst/>
              <a:gdLst>
                <a:gd name="connsiteX0" fmla="*/ 337201 w 520233"/>
                <a:gd name="connsiteY0" fmla="*/ 0 h 351169"/>
                <a:gd name="connsiteX1" fmla="*/ 520233 w 520233"/>
                <a:gd name="connsiteY1" fmla="*/ 127191 h 351169"/>
                <a:gd name="connsiteX2" fmla="*/ 520233 w 520233"/>
                <a:gd name="connsiteY2" fmla="*/ 341190 h 351169"/>
                <a:gd name="connsiteX3" fmla="*/ 506753 w 520233"/>
                <a:gd name="connsiteY3" fmla="*/ 350534 h 351169"/>
                <a:gd name="connsiteX4" fmla="*/ 338470 w 520233"/>
                <a:gd name="connsiteY4" fmla="*/ 234324 h 351169"/>
                <a:gd name="connsiteX5" fmla="*/ 337201 w 520233"/>
                <a:gd name="connsiteY5" fmla="*/ 233689 h 351169"/>
                <a:gd name="connsiteX6" fmla="*/ 168283 w 520233"/>
                <a:gd name="connsiteY6" fmla="*/ 351169 h 351169"/>
                <a:gd name="connsiteX7" fmla="*/ 0 w 520233"/>
                <a:gd name="connsiteY7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0233" h="351169">
                  <a:moveTo>
                    <a:pt x="337201" y="0"/>
                  </a:moveTo>
                  <a:lnTo>
                    <a:pt x="520233" y="127191"/>
                  </a:lnTo>
                  <a:lnTo>
                    <a:pt x="520233" y="341190"/>
                  </a:lnTo>
                  <a:lnTo>
                    <a:pt x="506753" y="350534"/>
                  </a:lnTo>
                  <a:lnTo>
                    <a:pt x="338470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1" name="Freeform: Shape 380">
              <a:extLst>
                <a:ext uri="{FF2B5EF4-FFF2-40B4-BE49-F238E27FC236}">
                  <a16:creationId xmlns:a16="http://schemas.microsoft.com/office/drawing/2014/main" id="{C0F129C2-F76E-4CA2-B0F8-79B49DD9F2F4}"/>
                </a:ext>
              </a:extLst>
            </p:cNvPr>
            <p:cNvSpPr/>
            <p:nvPr/>
          </p:nvSpPr>
          <p:spPr>
            <a:xfrm>
              <a:off x="11841320" y="2481044"/>
              <a:ext cx="165742" cy="229244"/>
            </a:xfrm>
            <a:custGeom>
              <a:avLst/>
              <a:gdLst>
                <a:gd name="connsiteX0" fmla="*/ 0 w 165742"/>
                <a:gd name="connsiteY0" fmla="*/ 114939 h 229244"/>
                <a:gd name="connsiteX1" fmla="*/ 165743 w 165742"/>
                <a:gd name="connsiteY1" fmla="*/ 0 h 229244"/>
                <a:gd name="connsiteX2" fmla="*/ 165743 w 165742"/>
                <a:gd name="connsiteY2" fmla="*/ 229244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0" y="114939"/>
                  </a:moveTo>
                  <a:lnTo>
                    <a:pt x="165743" y="0"/>
                  </a:lnTo>
                  <a:lnTo>
                    <a:pt x="165743" y="22924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2" name="Freeform: Shape 381">
              <a:extLst>
                <a:ext uri="{FF2B5EF4-FFF2-40B4-BE49-F238E27FC236}">
                  <a16:creationId xmlns:a16="http://schemas.microsoft.com/office/drawing/2014/main" id="{07BBDF06-F339-4C7D-9F0B-7CC4505B44FC}"/>
                </a:ext>
              </a:extLst>
            </p:cNvPr>
            <p:cNvSpPr/>
            <p:nvPr/>
          </p:nvSpPr>
          <p:spPr>
            <a:xfrm>
              <a:off x="11670497" y="1771085"/>
              <a:ext cx="336565" cy="702973"/>
            </a:xfrm>
            <a:custGeom>
              <a:avLst/>
              <a:gdLst>
                <a:gd name="connsiteX0" fmla="*/ 0 w 336565"/>
                <a:gd name="connsiteY0" fmla="*/ 468649 h 702973"/>
                <a:gd name="connsiteX1" fmla="*/ 0 w 336565"/>
                <a:gd name="connsiteY1" fmla="*/ 0 h 702973"/>
                <a:gd name="connsiteX2" fmla="*/ 167648 w 336565"/>
                <a:gd name="connsiteY2" fmla="*/ 116845 h 702973"/>
                <a:gd name="connsiteX3" fmla="*/ 167648 w 336565"/>
                <a:gd name="connsiteY3" fmla="*/ 351804 h 702973"/>
                <a:gd name="connsiteX4" fmla="*/ 336566 w 336565"/>
                <a:gd name="connsiteY4" fmla="*/ 469284 h 702973"/>
                <a:gd name="connsiteX5" fmla="*/ 336566 w 336565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0" y="468649"/>
                  </a:moveTo>
                  <a:lnTo>
                    <a:pt x="0" y="0"/>
                  </a:lnTo>
                  <a:lnTo>
                    <a:pt x="167648" y="116845"/>
                  </a:ln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3" name="Freeform: Shape 382">
              <a:extLst>
                <a:ext uri="{FF2B5EF4-FFF2-40B4-BE49-F238E27FC236}">
                  <a16:creationId xmlns:a16="http://schemas.microsoft.com/office/drawing/2014/main" id="{B972119F-0120-4776-9177-4CA767ED76ED}"/>
                </a:ext>
              </a:extLst>
            </p:cNvPr>
            <p:cNvSpPr/>
            <p:nvPr/>
          </p:nvSpPr>
          <p:spPr>
            <a:xfrm>
              <a:off x="12010873" y="2007950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2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2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4" name="Freeform: Shape 383">
              <a:extLst>
                <a:ext uri="{FF2B5EF4-FFF2-40B4-BE49-F238E27FC236}">
                  <a16:creationId xmlns:a16="http://schemas.microsoft.com/office/drawing/2014/main" id="{AE34A160-7946-4FC7-BAD2-DF968F576F6C}"/>
                </a:ext>
              </a:extLst>
            </p:cNvPr>
            <p:cNvSpPr/>
            <p:nvPr/>
          </p:nvSpPr>
          <p:spPr>
            <a:xfrm>
              <a:off x="12012143" y="1888565"/>
              <a:ext cx="179857" cy="231784"/>
            </a:xfrm>
            <a:custGeom>
              <a:avLst/>
              <a:gdLst>
                <a:gd name="connsiteX0" fmla="*/ 166377 w 179857"/>
                <a:gd name="connsiteY0" fmla="*/ 0 h 231784"/>
                <a:gd name="connsiteX1" fmla="*/ 179857 w 179857"/>
                <a:gd name="connsiteY1" fmla="*/ 9293 h 231784"/>
                <a:gd name="connsiteX2" fmla="*/ 179857 w 179857"/>
                <a:gd name="connsiteY2" fmla="*/ 222440 h 231784"/>
                <a:gd name="connsiteX3" fmla="*/ 166377 w 179857"/>
                <a:gd name="connsiteY3" fmla="*/ 231784 h 231784"/>
                <a:gd name="connsiteX4" fmla="*/ 0 w 179857"/>
                <a:gd name="connsiteY4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857" h="231784">
                  <a:moveTo>
                    <a:pt x="166377" y="0"/>
                  </a:moveTo>
                  <a:lnTo>
                    <a:pt x="179857" y="9293"/>
                  </a:lnTo>
                  <a:lnTo>
                    <a:pt x="179857" y="222440"/>
                  </a:lnTo>
                  <a:lnTo>
                    <a:pt x="166377" y="231784"/>
                  </a:lnTo>
                  <a:lnTo>
                    <a:pt x="0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5" name="Freeform: Shape 384">
              <a:extLst>
                <a:ext uri="{FF2B5EF4-FFF2-40B4-BE49-F238E27FC236}">
                  <a16:creationId xmlns:a16="http://schemas.microsoft.com/office/drawing/2014/main" id="{14A39ADA-FD0C-420E-B35E-AC4C8DD9C418}"/>
                </a:ext>
              </a:extLst>
            </p:cNvPr>
            <p:cNvSpPr/>
            <p:nvPr/>
          </p:nvSpPr>
          <p:spPr>
            <a:xfrm>
              <a:off x="12182332" y="1171879"/>
              <a:ext cx="9669" cy="245878"/>
            </a:xfrm>
            <a:custGeom>
              <a:avLst/>
              <a:gdLst>
                <a:gd name="connsiteX0" fmla="*/ 9669 w 9669"/>
                <a:gd name="connsiteY0" fmla="*/ 0 h 245878"/>
                <a:gd name="connsiteX1" fmla="*/ 9669 w 9669"/>
                <a:gd name="connsiteY1" fmla="*/ 245878 h 245878"/>
                <a:gd name="connsiteX2" fmla="*/ 0 w 9669"/>
                <a:gd name="connsiteY2" fmla="*/ 239147 h 245878"/>
                <a:gd name="connsiteX3" fmla="*/ 0 w 9669"/>
                <a:gd name="connsiteY3" fmla="*/ 6728 h 245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69" h="245878">
                  <a:moveTo>
                    <a:pt x="9669" y="0"/>
                  </a:moveTo>
                  <a:lnTo>
                    <a:pt x="9669" y="245878"/>
                  </a:lnTo>
                  <a:lnTo>
                    <a:pt x="0" y="239147"/>
                  </a:lnTo>
                  <a:lnTo>
                    <a:pt x="0" y="6728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6" name="Freeform: Shape 385">
              <a:extLst>
                <a:ext uri="{FF2B5EF4-FFF2-40B4-BE49-F238E27FC236}">
                  <a16:creationId xmlns:a16="http://schemas.microsoft.com/office/drawing/2014/main" id="{02993F14-D86D-4693-9634-31DAF85CB00E}"/>
                </a:ext>
              </a:extLst>
            </p:cNvPr>
            <p:cNvSpPr/>
            <p:nvPr/>
          </p:nvSpPr>
          <p:spPr>
            <a:xfrm>
              <a:off x="12010873" y="696009"/>
              <a:ext cx="181127" cy="358769"/>
            </a:xfrm>
            <a:custGeom>
              <a:avLst/>
              <a:gdLst>
                <a:gd name="connsiteX0" fmla="*/ 181127 w 181127"/>
                <a:gd name="connsiteY0" fmla="*/ 0 h 358769"/>
                <a:gd name="connsiteX1" fmla="*/ 181127 w 181127"/>
                <a:gd name="connsiteY1" fmla="*/ 232664 h 358769"/>
                <a:gd name="connsiteX2" fmla="*/ 0 w 181127"/>
                <a:gd name="connsiteY2" fmla="*/ 358769 h 358769"/>
                <a:gd name="connsiteX3" fmla="*/ 0 w 181127"/>
                <a:gd name="connsiteY3" fmla="*/ 125079 h 358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127" h="358769">
                  <a:moveTo>
                    <a:pt x="181127" y="0"/>
                  </a:moveTo>
                  <a:lnTo>
                    <a:pt x="181127" y="232664"/>
                  </a:lnTo>
                  <a:lnTo>
                    <a:pt x="0" y="358769"/>
                  </a:lnTo>
                  <a:lnTo>
                    <a:pt x="0" y="1250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7" name="Freeform: Shape 386">
              <a:extLst>
                <a:ext uri="{FF2B5EF4-FFF2-40B4-BE49-F238E27FC236}">
                  <a16:creationId xmlns:a16="http://schemas.microsoft.com/office/drawing/2014/main" id="{2B84B4CA-E840-4345-AC03-108B7A72C639}"/>
                </a:ext>
              </a:extLst>
            </p:cNvPr>
            <p:cNvSpPr/>
            <p:nvPr/>
          </p:nvSpPr>
          <p:spPr>
            <a:xfrm>
              <a:off x="12010873" y="3534280"/>
              <a:ext cx="181127" cy="359061"/>
            </a:xfrm>
            <a:custGeom>
              <a:avLst/>
              <a:gdLst>
                <a:gd name="connsiteX0" fmla="*/ 181127 w 181127"/>
                <a:gd name="connsiteY0" fmla="*/ 0 h 359061"/>
                <a:gd name="connsiteX1" fmla="*/ 181127 w 181127"/>
                <a:gd name="connsiteY1" fmla="*/ 232957 h 359061"/>
                <a:gd name="connsiteX2" fmla="*/ 0 w 181127"/>
                <a:gd name="connsiteY2" fmla="*/ 359061 h 359061"/>
                <a:gd name="connsiteX3" fmla="*/ 0 w 181127"/>
                <a:gd name="connsiteY3" fmla="*/ 124737 h 359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127" h="359061">
                  <a:moveTo>
                    <a:pt x="181127" y="0"/>
                  </a:moveTo>
                  <a:lnTo>
                    <a:pt x="181127" y="232957"/>
                  </a:lnTo>
                  <a:lnTo>
                    <a:pt x="0" y="359061"/>
                  </a:lnTo>
                  <a:lnTo>
                    <a:pt x="0" y="124737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8" name="Freeform: Shape 387">
              <a:extLst>
                <a:ext uri="{FF2B5EF4-FFF2-40B4-BE49-F238E27FC236}">
                  <a16:creationId xmlns:a16="http://schemas.microsoft.com/office/drawing/2014/main" id="{256EFF7B-6FBE-414D-AC40-7A050865D57A}"/>
                </a:ext>
              </a:extLst>
            </p:cNvPr>
            <p:cNvSpPr/>
            <p:nvPr/>
          </p:nvSpPr>
          <p:spPr>
            <a:xfrm>
              <a:off x="12182332" y="2591161"/>
              <a:ext cx="9669" cy="245878"/>
            </a:xfrm>
            <a:custGeom>
              <a:avLst/>
              <a:gdLst>
                <a:gd name="connsiteX0" fmla="*/ 9669 w 9669"/>
                <a:gd name="connsiteY0" fmla="*/ 0 h 245878"/>
                <a:gd name="connsiteX1" fmla="*/ 9669 w 9669"/>
                <a:gd name="connsiteY1" fmla="*/ 245878 h 245878"/>
                <a:gd name="connsiteX2" fmla="*/ 0 w 9669"/>
                <a:gd name="connsiteY2" fmla="*/ 239147 h 245878"/>
                <a:gd name="connsiteX3" fmla="*/ 0 w 9669"/>
                <a:gd name="connsiteY3" fmla="*/ 6728 h 245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69" h="245878">
                  <a:moveTo>
                    <a:pt x="9669" y="0"/>
                  </a:moveTo>
                  <a:lnTo>
                    <a:pt x="9669" y="245878"/>
                  </a:lnTo>
                  <a:lnTo>
                    <a:pt x="0" y="239147"/>
                  </a:lnTo>
                  <a:lnTo>
                    <a:pt x="0" y="6728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9" name="Freeform: Shape 388">
              <a:extLst>
                <a:ext uri="{FF2B5EF4-FFF2-40B4-BE49-F238E27FC236}">
                  <a16:creationId xmlns:a16="http://schemas.microsoft.com/office/drawing/2014/main" id="{99E3681D-30CE-4966-8C39-7DC52E67339E}"/>
                </a:ext>
              </a:extLst>
            </p:cNvPr>
            <p:cNvSpPr/>
            <p:nvPr userDrawn="1"/>
          </p:nvSpPr>
          <p:spPr>
            <a:xfrm>
              <a:off x="12010873" y="2115291"/>
              <a:ext cx="181127" cy="358769"/>
            </a:xfrm>
            <a:custGeom>
              <a:avLst/>
              <a:gdLst>
                <a:gd name="connsiteX0" fmla="*/ 181127 w 181127"/>
                <a:gd name="connsiteY0" fmla="*/ 0 h 358769"/>
                <a:gd name="connsiteX1" fmla="*/ 181127 w 181127"/>
                <a:gd name="connsiteY1" fmla="*/ 232664 h 358769"/>
                <a:gd name="connsiteX2" fmla="*/ 0 w 181127"/>
                <a:gd name="connsiteY2" fmla="*/ 358769 h 358769"/>
                <a:gd name="connsiteX3" fmla="*/ 0 w 181127"/>
                <a:gd name="connsiteY3" fmla="*/ 125079 h 358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127" h="358769">
                  <a:moveTo>
                    <a:pt x="181127" y="0"/>
                  </a:moveTo>
                  <a:lnTo>
                    <a:pt x="181127" y="232664"/>
                  </a:lnTo>
                  <a:lnTo>
                    <a:pt x="0" y="358769"/>
                  </a:lnTo>
                  <a:lnTo>
                    <a:pt x="0" y="1250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0" name="Freeform: Shape 389">
              <a:extLst>
                <a:ext uri="{FF2B5EF4-FFF2-40B4-BE49-F238E27FC236}">
                  <a16:creationId xmlns:a16="http://schemas.microsoft.com/office/drawing/2014/main" id="{DAF59334-EE7F-45A9-A44F-43BE27EE5F4A}"/>
                </a:ext>
              </a:extLst>
            </p:cNvPr>
            <p:cNvSpPr/>
            <p:nvPr/>
          </p:nvSpPr>
          <p:spPr>
            <a:xfrm>
              <a:off x="12012143" y="933306"/>
              <a:ext cx="179857" cy="242125"/>
            </a:xfrm>
            <a:custGeom>
              <a:avLst/>
              <a:gdLst>
                <a:gd name="connsiteX0" fmla="*/ 179857 w 179857"/>
                <a:gd name="connsiteY0" fmla="*/ 0 h 242125"/>
                <a:gd name="connsiteX1" fmla="*/ 179857 w 179857"/>
                <a:gd name="connsiteY1" fmla="*/ 234076 h 242125"/>
                <a:gd name="connsiteX2" fmla="*/ 168283 w 179857"/>
                <a:gd name="connsiteY2" fmla="*/ 242125 h 242125"/>
                <a:gd name="connsiteX3" fmla="*/ 0 w 179857"/>
                <a:gd name="connsiteY3" fmla="*/ 124645 h 2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857" h="242125">
                  <a:moveTo>
                    <a:pt x="179857" y="0"/>
                  </a:moveTo>
                  <a:lnTo>
                    <a:pt x="179857" y="234076"/>
                  </a:lnTo>
                  <a:lnTo>
                    <a:pt x="168283" y="242125"/>
                  </a:lnTo>
                  <a:lnTo>
                    <a:pt x="0" y="12464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1" name="Freeform: Shape 390">
              <a:extLst>
                <a:ext uri="{FF2B5EF4-FFF2-40B4-BE49-F238E27FC236}">
                  <a16:creationId xmlns:a16="http://schemas.microsoft.com/office/drawing/2014/main" id="{A9BF5E58-59F7-450E-8083-A54DD5533A40}"/>
                </a:ext>
              </a:extLst>
            </p:cNvPr>
            <p:cNvSpPr/>
            <p:nvPr userDrawn="1"/>
          </p:nvSpPr>
          <p:spPr>
            <a:xfrm>
              <a:off x="12012143" y="2352249"/>
              <a:ext cx="179857" cy="242464"/>
            </a:xfrm>
            <a:custGeom>
              <a:avLst/>
              <a:gdLst>
                <a:gd name="connsiteX0" fmla="*/ 179857 w 179857"/>
                <a:gd name="connsiteY0" fmla="*/ 0 h 242464"/>
                <a:gd name="connsiteX1" fmla="*/ 179857 w 179857"/>
                <a:gd name="connsiteY1" fmla="*/ 234415 h 242464"/>
                <a:gd name="connsiteX2" fmla="*/ 168283 w 179857"/>
                <a:gd name="connsiteY2" fmla="*/ 242464 h 242464"/>
                <a:gd name="connsiteX3" fmla="*/ 0 w 179857"/>
                <a:gd name="connsiteY3" fmla="*/ 124984 h 242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857" h="242464">
                  <a:moveTo>
                    <a:pt x="179857" y="0"/>
                  </a:moveTo>
                  <a:lnTo>
                    <a:pt x="179857" y="234415"/>
                  </a:lnTo>
                  <a:lnTo>
                    <a:pt x="168283" y="242464"/>
                  </a:lnTo>
                  <a:lnTo>
                    <a:pt x="0" y="12498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6A190A09-38DF-44F3-867C-A471B79F10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51261" y="2832692"/>
            <a:ext cx="7140739" cy="4025309"/>
          </a:xfrm>
          <a:custGeom>
            <a:avLst/>
            <a:gdLst>
              <a:gd name="connsiteX0" fmla="*/ 5790363 w 7140739"/>
              <a:gd name="connsiteY0" fmla="*/ 0 h 4025309"/>
              <a:gd name="connsiteX1" fmla="*/ 7140739 w 7140739"/>
              <a:gd name="connsiteY1" fmla="*/ 938746 h 4025309"/>
              <a:gd name="connsiteX2" fmla="*/ 7140739 w 7140739"/>
              <a:gd name="connsiteY2" fmla="*/ 4025309 h 4025309"/>
              <a:gd name="connsiteX3" fmla="*/ 0 w 7140739"/>
              <a:gd name="connsiteY3" fmla="*/ 4025309 h 4025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40739" h="4025309">
                <a:moveTo>
                  <a:pt x="5790363" y="0"/>
                </a:moveTo>
                <a:lnTo>
                  <a:pt x="7140739" y="938746"/>
                </a:lnTo>
                <a:lnTo>
                  <a:pt x="7140739" y="4025309"/>
                </a:lnTo>
                <a:lnTo>
                  <a:pt x="0" y="402530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7" name="Freeform 17">
            <a:extLst>
              <a:ext uri="{FF2B5EF4-FFF2-40B4-BE49-F238E27FC236}">
                <a16:creationId xmlns:a16="http://schemas.microsoft.com/office/drawing/2014/main" id="{B6240B64-00A8-4FE7-AA5A-4A2F8B98F2A4}"/>
              </a:ext>
            </a:extLst>
          </p:cNvPr>
          <p:cNvSpPr/>
          <p:nvPr userDrawn="1"/>
        </p:nvSpPr>
        <p:spPr>
          <a:xfrm rot="3299037" flipH="1" flipV="1">
            <a:off x="5974493" y="4464643"/>
            <a:ext cx="316395" cy="3206138"/>
          </a:xfrm>
          <a:custGeom>
            <a:avLst/>
            <a:gdLst>
              <a:gd name="connsiteX0" fmla="*/ 316395 w 316395"/>
              <a:gd name="connsiteY0" fmla="*/ 3162580 h 3206138"/>
              <a:gd name="connsiteX1" fmla="*/ 0 w 316395"/>
              <a:gd name="connsiteY1" fmla="*/ 3206138 h 3206138"/>
              <a:gd name="connsiteX2" fmla="*/ 0 w 316395"/>
              <a:gd name="connsiteY2" fmla="*/ 451589 h 3206138"/>
              <a:gd name="connsiteX3" fmla="*/ 316395 w 316395"/>
              <a:gd name="connsiteY3" fmla="*/ 0 h 320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395" h="3206138">
                <a:moveTo>
                  <a:pt x="316395" y="3162580"/>
                </a:moveTo>
                <a:lnTo>
                  <a:pt x="0" y="3206138"/>
                </a:lnTo>
                <a:lnTo>
                  <a:pt x="0" y="451589"/>
                </a:lnTo>
                <a:lnTo>
                  <a:pt x="31639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EC4703DF-3E8F-47BA-BB4F-7408A471CBF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3B58F2F8-A64B-47AC-BB12-214DCFC4FE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000" y="388800"/>
            <a:ext cx="5868000" cy="9900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04C4781-1C6F-4AD7-ABBE-AF369B7688D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44000" y="2250000"/>
            <a:ext cx="5868000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9546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0CC2C6EF-776C-43CF-B77C-3AD42BC255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4143" y="3702319"/>
            <a:ext cx="6843600" cy="381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Description goes her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noProof="0"/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507FF555-C362-BC4D-A8EA-21A034747FD9}"/>
              </a:ext>
            </a:extLst>
          </p:cNvPr>
          <p:cNvSpPr/>
          <p:nvPr/>
        </p:nvSpPr>
        <p:spPr>
          <a:xfrm rot="18300963" flipH="1">
            <a:off x="8503132" y="-1165064"/>
            <a:ext cx="495116" cy="4554815"/>
          </a:xfrm>
          <a:custGeom>
            <a:avLst/>
            <a:gdLst>
              <a:gd name="connsiteX0" fmla="*/ 484981 w 495116"/>
              <a:gd name="connsiteY0" fmla="*/ 0 h 4554815"/>
              <a:gd name="connsiteX1" fmla="*/ 43362 w 495116"/>
              <a:gd name="connsiteY1" fmla="*/ 630320 h 4554815"/>
              <a:gd name="connsiteX2" fmla="*/ 0 w 495116"/>
              <a:gd name="connsiteY2" fmla="*/ 4554815 h 4554815"/>
              <a:gd name="connsiteX3" fmla="*/ 484123 w 495116"/>
              <a:gd name="connsiteY3" fmla="*/ 4385194 h 4554815"/>
              <a:gd name="connsiteX4" fmla="*/ 495116 w 495116"/>
              <a:gd name="connsiteY4" fmla="*/ 3771414 h 4554815"/>
              <a:gd name="connsiteX5" fmla="*/ 466021 w 495116"/>
              <a:gd name="connsiteY5" fmla="*/ 3782827 h 4554815"/>
              <a:gd name="connsiteX6" fmla="*/ 482994 w 495116"/>
              <a:gd name="connsiteY6" fmla="*/ 370448 h 4554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5116" h="4554815">
                <a:moveTo>
                  <a:pt x="484981" y="0"/>
                </a:moveTo>
                <a:lnTo>
                  <a:pt x="43362" y="630320"/>
                </a:lnTo>
                <a:lnTo>
                  <a:pt x="0" y="4554815"/>
                </a:lnTo>
                <a:lnTo>
                  <a:pt x="484123" y="4385194"/>
                </a:lnTo>
                <a:lnTo>
                  <a:pt x="495116" y="3771414"/>
                </a:lnTo>
                <a:lnTo>
                  <a:pt x="466021" y="3782827"/>
                </a:lnTo>
                <a:cubicBezTo>
                  <a:pt x="466280" y="2865719"/>
                  <a:pt x="476637" y="1476643"/>
                  <a:pt x="482994" y="370448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BA5EF075-83E7-774F-B885-37C07770ABA8}"/>
              </a:ext>
            </a:extLst>
          </p:cNvPr>
          <p:cNvSpPr/>
          <p:nvPr/>
        </p:nvSpPr>
        <p:spPr>
          <a:xfrm rot="18300963" flipH="1">
            <a:off x="4607641" y="3724836"/>
            <a:ext cx="1098431" cy="4553250"/>
          </a:xfrm>
          <a:custGeom>
            <a:avLst/>
            <a:gdLst>
              <a:gd name="connsiteX0" fmla="*/ 7678 w 1098431"/>
              <a:gd name="connsiteY0" fmla="*/ 354047 h 4553250"/>
              <a:gd name="connsiteX1" fmla="*/ 0 w 1098431"/>
              <a:gd name="connsiteY1" fmla="*/ 4553250 h 4553250"/>
              <a:gd name="connsiteX2" fmla="*/ 1098431 w 1098431"/>
              <a:gd name="connsiteY2" fmla="*/ 2985463 h 4553250"/>
              <a:gd name="connsiteX3" fmla="*/ 1098431 w 1098431"/>
              <a:gd name="connsiteY3" fmla="*/ 0 h 4553250"/>
              <a:gd name="connsiteX4" fmla="*/ 7678 w 1098431"/>
              <a:gd name="connsiteY4" fmla="*/ 354047 h 455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8431" h="4553250">
                <a:moveTo>
                  <a:pt x="7678" y="354047"/>
                </a:moveTo>
                <a:lnTo>
                  <a:pt x="0" y="4553250"/>
                </a:lnTo>
                <a:lnTo>
                  <a:pt x="1098431" y="2985463"/>
                </a:lnTo>
                <a:lnTo>
                  <a:pt x="1098431" y="0"/>
                </a:lnTo>
                <a:cubicBezTo>
                  <a:pt x="734631" y="127326"/>
                  <a:pt x="371478" y="226721"/>
                  <a:pt x="7678" y="35404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0FDB5CF5-44C1-1D4A-A2B9-37C0F30F6278}"/>
              </a:ext>
            </a:extLst>
          </p:cNvPr>
          <p:cNvSpPr/>
          <p:nvPr/>
        </p:nvSpPr>
        <p:spPr>
          <a:xfrm rot="18300963" flipH="1">
            <a:off x="4473394" y="5471677"/>
            <a:ext cx="227425" cy="1880095"/>
          </a:xfrm>
          <a:custGeom>
            <a:avLst/>
            <a:gdLst>
              <a:gd name="connsiteX0" fmla="*/ 0 w 227425"/>
              <a:gd name="connsiteY0" fmla="*/ 96845 h 1880095"/>
              <a:gd name="connsiteX1" fmla="*/ 0 w 227425"/>
              <a:gd name="connsiteY1" fmla="*/ 1880095 h 1880095"/>
              <a:gd name="connsiteX2" fmla="*/ 224453 w 227425"/>
              <a:gd name="connsiteY2" fmla="*/ 1559734 h 1880095"/>
              <a:gd name="connsiteX3" fmla="*/ 225257 w 227425"/>
              <a:gd name="connsiteY3" fmla="*/ 1214869 h 1880095"/>
              <a:gd name="connsiteX4" fmla="*/ 227425 w 227425"/>
              <a:gd name="connsiteY4" fmla="*/ 0 h 1880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425" h="1880095">
                <a:moveTo>
                  <a:pt x="0" y="96845"/>
                </a:moveTo>
                <a:lnTo>
                  <a:pt x="0" y="1880095"/>
                </a:lnTo>
                <a:lnTo>
                  <a:pt x="224453" y="1559734"/>
                </a:lnTo>
                <a:lnTo>
                  <a:pt x="225257" y="1214869"/>
                </a:lnTo>
                <a:cubicBezTo>
                  <a:pt x="225980" y="809913"/>
                  <a:pt x="226237" y="390570"/>
                  <a:pt x="227425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7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35" name="Freeform 34">
            <a:extLst>
              <a:ext uri="{FF2B5EF4-FFF2-40B4-BE49-F238E27FC236}">
                <a16:creationId xmlns:a16="http://schemas.microsoft.com/office/drawing/2014/main" id="{4D8B62A9-4796-7441-BB51-FE9050BD3210}"/>
              </a:ext>
            </a:extLst>
          </p:cNvPr>
          <p:cNvSpPr/>
          <p:nvPr/>
        </p:nvSpPr>
        <p:spPr>
          <a:xfrm rot="18300963" flipH="1">
            <a:off x="6797834" y="-1592612"/>
            <a:ext cx="1110167" cy="5340305"/>
          </a:xfrm>
          <a:custGeom>
            <a:avLst/>
            <a:gdLst>
              <a:gd name="connsiteX0" fmla="*/ 1110167 w 1110167"/>
              <a:gd name="connsiteY0" fmla="*/ 0 h 5340305"/>
              <a:gd name="connsiteX1" fmla="*/ 18977 w 1110167"/>
              <a:gd name="connsiteY1" fmla="*/ 1557452 h 5340305"/>
              <a:gd name="connsiteX2" fmla="*/ 18186 w 1110167"/>
              <a:gd name="connsiteY2" fmla="*/ 1710683 h 5340305"/>
              <a:gd name="connsiteX3" fmla="*/ 0 w 1110167"/>
              <a:gd name="connsiteY3" fmla="*/ 5340305 h 5340305"/>
              <a:gd name="connsiteX4" fmla="*/ 1096070 w 1110167"/>
              <a:gd name="connsiteY4" fmla="*/ 4910334 h 5340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0167" h="5340305">
                <a:moveTo>
                  <a:pt x="1110167" y="0"/>
                </a:moveTo>
                <a:lnTo>
                  <a:pt x="18977" y="1557452"/>
                </a:lnTo>
                <a:lnTo>
                  <a:pt x="18186" y="1710683"/>
                </a:lnTo>
                <a:cubicBezTo>
                  <a:pt x="12041" y="2846813"/>
                  <a:pt x="276" y="4362057"/>
                  <a:pt x="0" y="5340305"/>
                </a:cubicBezTo>
                <a:lnTo>
                  <a:pt x="1096070" y="4910334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E2CC5BE5-129B-7847-BDB4-75DA3D4EA79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970D0B5-60C7-43B7-9391-F41A7E9C2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401252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>
              <a:defRPr lang="en-GB" sz="4000" dirty="0">
                <a:solidFill>
                  <a:schemeClr val="tx2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 noProof="0"/>
              <a:t>Slide divider option-6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6AB6562-E57C-4D04-BCF6-D759D38486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89352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Title &amp; Content w/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63B73004-4686-45A1-8274-41087C5FBFF1}"/>
              </a:ext>
            </a:extLst>
          </p:cNvPr>
          <p:cNvSpPr/>
          <p:nvPr/>
        </p:nvSpPr>
        <p:spPr>
          <a:xfrm>
            <a:off x="0" y="0"/>
            <a:ext cx="12192000" cy="20203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550EB56-F093-422F-88D0-09655BF64A6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2020306"/>
          </a:xfrm>
          <a:prstGeom prst="rect">
            <a:avLst/>
          </a:prstGeom>
        </p:spPr>
      </p:pic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650234-DD57-4C81-AB23-92FD51EEBD7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42799" y="2249826"/>
            <a:ext cx="11303999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9995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Title Only w/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63B73004-4686-45A1-8274-41087C5FBFF1}"/>
              </a:ext>
            </a:extLst>
          </p:cNvPr>
          <p:cNvSpPr/>
          <p:nvPr/>
        </p:nvSpPr>
        <p:spPr>
          <a:xfrm>
            <a:off x="0" y="0"/>
            <a:ext cx="12192000" cy="20203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550EB56-F093-422F-88D0-09655BF64A6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2020306"/>
          </a:xfrm>
          <a:prstGeom prst="rect">
            <a:avLst/>
          </a:prstGeom>
        </p:spPr>
      </p:pic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2707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Title &amp; Content w/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49B78C9-7BB7-49D7-954F-5AA9382FC932}"/>
              </a:ext>
            </a:extLst>
          </p:cNvPr>
          <p:cNvSpPr/>
          <p:nvPr userDrawn="1"/>
        </p:nvSpPr>
        <p:spPr>
          <a:xfrm rot="3341389" flipH="1">
            <a:off x="1622745" y="-3539070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6" name="Title 3">
            <a:extLst>
              <a:ext uri="{FF2B5EF4-FFF2-40B4-BE49-F238E27FC236}">
                <a16:creationId xmlns:a16="http://schemas.microsoft.com/office/drawing/2014/main" id="{7AB5DCBE-1D2A-43D5-A777-58863EDF1C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sz="280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716A898-5A89-4CA5-9B40-95FBB2829B5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1BEBC27-A4DD-4672-8056-53320A57DF87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ECBC53C-7DFD-4D73-BD13-DCA234AEE227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D3BC51-7691-417E-9C98-81FFA8F3AC8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DD5333B-D8D6-491C-8EAC-53588F8C3FC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2799" y="1483781"/>
            <a:ext cx="11303999" cy="465404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0531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D11DE4A4-8A73-47DE-998E-AEEEE66D8A3D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76EB3F0-47D8-4109-9506-E465830BA77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7644591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Title &amp;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49B78C9-7BB7-49D7-954F-5AA9382FC932}"/>
              </a:ext>
            </a:extLst>
          </p:cNvPr>
          <p:cNvSpPr/>
          <p:nvPr userDrawn="1"/>
        </p:nvSpPr>
        <p:spPr>
          <a:xfrm rot="3341389" flipH="1">
            <a:off x="1622745" y="-3539070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6" name="Title 3">
            <a:extLst>
              <a:ext uri="{FF2B5EF4-FFF2-40B4-BE49-F238E27FC236}">
                <a16:creationId xmlns:a16="http://schemas.microsoft.com/office/drawing/2014/main" id="{7AB5DCBE-1D2A-43D5-A777-58863EDF1C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sz="280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716A898-5A89-4CA5-9B40-95FBB2829B5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1BEBC27-A4DD-4672-8056-53320A57DF87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ECBC53C-7DFD-4D73-BD13-DCA234AEE227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D3BC51-7691-417E-9C98-81FFA8F3AC8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DD5333B-D8D6-491C-8EAC-53588F8C3FC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2799" y="1773238"/>
            <a:ext cx="11303999" cy="4357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3379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429A718C-8EA9-4538-BF62-1949A8E15399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2" name="Title 3">
            <a:extLst>
              <a:ext uri="{FF2B5EF4-FFF2-40B4-BE49-F238E27FC236}">
                <a16:creationId xmlns:a16="http://schemas.microsoft.com/office/drawing/2014/main" id="{647A549A-FC78-4BF2-8AA4-4CBCED8E7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sz="280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F0A051F-2529-469D-B839-67D614047EC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07D8720-3D60-4190-9DDE-9EDFBA572D3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40B7391-998E-44BB-BB77-DAB3F7DB4F6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405AEB-0FA0-4F4B-A7C1-81C09A14F48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8106320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Title_IN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2" name="Title 3">
            <a:extLst>
              <a:ext uri="{FF2B5EF4-FFF2-40B4-BE49-F238E27FC236}">
                <a16:creationId xmlns:a16="http://schemas.microsoft.com/office/drawing/2014/main" id="{647A549A-FC78-4BF2-8AA4-4CBCED8E7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sz="280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F0A051F-2529-469D-B839-67D614047EC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07D8720-3D60-4190-9DDE-9EDFBA572D3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40B7391-998E-44BB-BB77-DAB3F7DB4F6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405AEB-0FA0-4F4B-A7C1-81C09A14F48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6086119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F6318C5-3E8C-4027-8ADE-94D6DFF893DF}"/>
              </a:ext>
            </a:extLst>
          </p:cNvPr>
          <p:cNvSpPr/>
          <p:nvPr userDrawn="1"/>
        </p:nvSpPr>
        <p:spPr>
          <a:xfrm rot="3341389" flipH="1">
            <a:off x="1613714" y="-3539070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4910E85-A840-A34D-ACA6-7D1ECD49672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33661B-FDB1-4FD2-AA10-7509875192F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56BE9C3-9D24-4D01-BA4D-BF75A9D51FE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C100CA-D516-42FC-BC3F-FAC2BD900CA3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D630176-F6B5-47F2-8078-132CA09BA102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35BF33-BB6E-45E7-8DA2-B771B41B93E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42799" y="2249826"/>
            <a:ext cx="5399999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99B19804-BB2B-4735-8B2C-A604FF50836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346799" y="2249826"/>
            <a:ext cx="5399999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78133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704">
          <p15:clr>
            <a:srgbClr val="FBAE40"/>
          </p15:clr>
        </p15:guide>
        <p15:guide id="3" pos="3976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E31D0D1B-F029-4724-91D9-7B2EC70CC70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89C17C-E3C9-4300-878F-674F3FE9EA4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1710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F69E03D5-567B-4B07-A3E5-6CE33427C21E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4581D52-5A11-4CEF-A19A-C47F763A7B43}"/>
              </a:ext>
            </a:extLst>
          </p:cNvPr>
          <p:cNvSpPr/>
          <p:nvPr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1"/>
              </a:gs>
              <a:gs pos="98000">
                <a:srgbClr val="073262"/>
              </a:gs>
              <a:gs pos="33000">
                <a:schemeClr val="accent2"/>
              </a:gs>
              <a:gs pos="0">
                <a:srgbClr val="073262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800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3728C49-8B97-44DE-B314-372422AECD1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9C4AAAD0-4193-42FD-A688-B0CD9CED6745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E2A8F19F-DE6E-4F6F-B1FB-F82B517C4553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4766BF9-5F7D-49F6-81BD-0B4EBA1BC190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39C241-A37E-4FB1-AB6F-5454AC48439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42799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B9B68F2-D439-4594-AC54-2D97003187A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370799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49A707FB-2749-4A62-9BFA-375267A10C6A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98799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4">
            <a:extLst>
              <a:ext uri="{FF2B5EF4-FFF2-40B4-BE49-F238E27FC236}">
                <a16:creationId xmlns:a16="http://schemas.microsoft.com/office/drawing/2014/main" id="{D3ACC19A-B912-4B59-B8C0-B7B50203303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226798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419134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B91F8A20-C584-48B2-B8D0-5A7792E52E41}"/>
              </a:ext>
            </a:extLst>
          </p:cNvPr>
          <p:cNvSpPr/>
          <p:nvPr userDrawn="1"/>
        </p:nvSpPr>
        <p:spPr>
          <a:xfrm flipV="1">
            <a:off x="6766830" y="1"/>
            <a:ext cx="5425171" cy="3771437"/>
          </a:xfrm>
          <a:custGeom>
            <a:avLst/>
            <a:gdLst>
              <a:gd name="connsiteX0" fmla="*/ 0 w 5425171"/>
              <a:gd name="connsiteY0" fmla="*/ 3771437 h 3771437"/>
              <a:gd name="connsiteX1" fmla="*/ 5425171 w 5425171"/>
              <a:gd name="connsiteY1" fmla="*/ 3771437 h 3771437"/>
              <a:gd name="connsiteX2" fmla="*/ 5425171 w 5425171"/>
              <a:gd name="connsiteY2" fmla="*/ 0 h 3771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25171" h="3771437">
                <a:moveTo>
                  <a:pt x="0" y="3771437"/>
                </a:moveTo>
                <a:lnTo>
                  <a:pt x="5425171" y="3771437"/>
                </a:lnTo>
                <a:lnTo>
                  <a:pt x="5425171" y="0"/>
                </a:lnTo>
                <a:close/>
              </a:path>
            </a:pathLst>
          </a:custGeom>
          <a:solidFill>
            <a:schemeClr val="accent1"/>
          </a:solidFill>
          <a:ln w="15691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GB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EBC369F7-26ED-4748-B416-400F4315F894}"/>
              </a:ext>
            </a:extLst>
          </p:cNvPr>
          <p:cNvSpPr/>
          <p:nvPr userDrawn="1"/>
        </p:nvSpPr>
        <p:spPr>
          <a:xfrm rot="18300963" flipH="1">
            <a:off x="7568200" y="-802590"/>
            <a:ext cx="418585" cy="2961934"/>
          </a:xfrm>
          <a:custGeom>
            <a:avLst/>
            <a:gdLst>
              <a:gd name="connsiteX0" fmla="*/ 418585 w 418585"/>
              <a:gd name="connsiteY0" fmla="*/ 0 h 2961934"/>
              <a:gd name="connsiteX1" fmla="*/ 0 w 418585"/>
              <a:gd name="connsiteY1" fmla="*/ 597446 h 2961934"/>
              <a:gd name="connsiteX2" fmla="*/ 0 w 418585"/>
              <a:gd name="connsiteY2" fmla="*/ 2961934 h 2961934"/>
              <a:gd name="connsiteX3" fmla="*/ 418585 w 418585"/>
              <a:gd name="connsiteY3" fmla="*/ 2808101 h 296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585" h="2961934">
                <a:moveTo>
                  <a:pt x="418585" y="0"/>
                </a:moveTo>
                <a:lnTo>
                  <a:pt x="0" y="597446"/>
                </a:lnTo>
                <a:lnTo>
                  <a:pt x="0" y="2961934"/>
                </a:lnTo>
                <a:lnTo>
                  <a:pt x="418585" y="2808101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5868000" cy="2769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tabLst>
                <a:tab pos="447675" algn="l"/>
              </a:tabLst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473F4034-F802-8147-9CE9-2FDF5990DA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68000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4C88BC3-87FF-4DEA-A390-196F279DE9AD}"/>
              </a:ext>
            </a:extLst>
          </p:cNvPr>
          <p:cNvGrpSpPr/>
          <p:nvPr userDrawn="1"/>
        </p:nvGrpSpPr>
        <p:grpSpPr>
          <a:xfrm>
            <a:off x="5715188" y="0"/>
            <a:ext cx="6476813" cy="4013359"/>
            <a:chOff x="5715188" y="0"/>
            <a:chExt cx="6476813" cy="4013359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CE5EE67-8B21-4F87-8DFB-90B271741602}"/>
                </a:ext>
              </a:extLst>
            </p:cNvPr>
            <p:cNvSpPr/>
            <p:nvPr/>
          </p:nvSpPr>
          <p:spPr>
            <a:xfrm>
              <a:off x="12010873" y="2481044"/>
              <a:ext cx="181127" cy="594412"/>
            </a:xfrm>
            <a:custGeom>
              <a:avLst/>
              <a:gdLst>
                <a:gd name="connsiteX0" fmla="*/ 0 w 181127"/>
                <a:gd name="connsiteY0" fmla="*/ 0 h 594412"/>
                <a:gd name="connsiteX1" fmla="*/ 167647 w 181127"/>
                <a:gd name="connsiteY1" fmla="*/ 116845 h 594412"/>
                <a:gd name="connsiteX2" fmla="*/ 167647 w 181127"/>
                <a:gd name="connsiteY2" fmla="*/ 351169 h 594412"/>
                <a:gd name="connsiteX3" fmla="*/ 181127 w 181127"/>
                <a:gd name="connsiteY3" fmla="*/ 360544 h 594412"/>
                <a:gd name="connsiteX4" fmla="*/ 181127 w 181127"/>
                <a:gd name="connsiteY4" fmla="*/ 594412 h 594412"/>
                <a:gd name="connsiteX5" fmla="*/ 0 w 181127"/>
                <a:gd name="connsiteY5" fmla="*/ 468649 h 594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1127" h="594412">
                  <a:moveTo>
                    <a:pt x="0" y="0"/>
                  </a:moveTo>
                  <a:lnTo>
                    <a:pt x="167647" y="116845"/>
                  </a:lnTo>
                  <a:lnTo>
                    <a:pt x="167647" y="351169"/>
                  </a:lnTo>
                  <a:lnTo>
                    <a:pt x="181127" y="360544"/>
                  </a:lnTo>
                  <a:lnTo>
                    <a:pt x="181127" y="594412"/>
                  </a:lnTo>
                  <a:lnTo>
                    <a:pt x="0" y="46864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3080386-6680-4E93-BCAF-5CB175921301}"/>
                </a:ext>
              </a:extLst>
            </p:cNvPr>
            <p:cNvSpPr/>
            <p:nvPr/>
          </p:nvSpPr>
          <p:spPr>
            <a:xfrm>
              <a:off x="6565492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9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9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DDE16F9-C07D-4FEE-A6FA-A182F541F37F}"/>
                </a:ext>
              </a:extLst>
            </p:cNvPr>
            <p:cNvSpPr/>
            <p:nvPr userDrawn="1"/>
          </p:nvSpPr>
          <p:spPr>
            <a:xfrm>
              <a:off x="7246244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9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9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ED9A046-D24A-4E78-8501-42C19EA55EBA}"/>
                </a:ext>
              </a:extLst>
            </p:cNvPr>
            <p:cNvSpPr/>
            <p:nvPr userDrawn="1"/>
          </p:nvSpPr>
          <p:spPr>
            <a:xfrm>
              <a:off x="7926996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9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9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E60FD82-2BBC-408C-B3E9-46545477070B}"/>
                </a:ext>
              </a:extLst>
            </p:cNvPr>
            <p:cNvSpPr/>
            <p:nvPr/>
          </p:nvSpPr>
          <p:spPr>
            <a:xfrm>
              <a:off x="8607748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8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8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151714C-A962-44D7-8717-DBB0CAD4FB3C}"/>
                </a:ext>
              </a:extLst>
            </p:cNvPr>
            <p:cNvSpPr/>
            <p:nvPr/>
          </p:nvSpPr>
          <p:spPr>
            <a:xfrm>
              <a:off x="9288499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8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8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3221CAB-ED2A-48D3-9F40-870064BDA5BB}"/>
                </a:ext>
              </a:extLst>
            </p:cNvPr>
            <p:cNvSpPr/>
            <p:nvPr/>
          </p:nvSpPr>
          <p:spPr>
            <a:xfrm>
              <a:off x="9968617" y="1"/>
              <a:ext cx="337201" cy="344819"/>
            </a:xfrm>
            <a:custGeom>
              <a:avLst/>
              <a:gdLst>
                <a:gd name="connsiteX0" fmla="*/ 0 w 337201"/>
                <a:gd name="connsiteY0" fmla="*/ 0 h 344819"/>
                <a:gd name="connsiteX1" fmla="*/ 177413 w 337201"/>
                <a:gd name="connsiteY1" fmla="*/ 0 h 344819"/>
                <a:gd name="connsiteX2" fmla="*/ 337201 w 337201"/>
                <a:gd name="connsiteY2" fmla="*/ 111130 h 344819"/>
                <a:gd name="connsiteX3" fmla="*/ 337201 w 337201"/>
                <a:gd name="connsiteY3" fmla="*/ 344819 h 344819"/>
                <a:gd name="connsiteX4" fmla="*/ 0 w 337201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201" h="344819">
                  <a:moveTo>
                    <a:pt x="0" y="0"/>
                  </a:moveTo>
                  <a:lnTo>
                    <a:pt x="177413" y="0"/>
                  </a:lnTo>
                  <a:lnTo>
                    <a:pt x="337201" y="111130"/>
                  </a:lnTo>
                  <a:lnTo>
                    <a:pt x="337201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9CE638EA-11C9-4B89-AB99-E00CA5E130BD}"/>
                </a:ext>
              </a:extLst>
            </p:cNvPr>
            <p:cNvSpPr/>
            <p:nvPr/>
          </p:nvSpPr>
          <p:spPr>
            <a:xfrm>
              <a:off x="10649369" y="1"/>
              <a:ext cx="337201" cy="344819"/>
            </a:xfrm>
            <a:custGeom>
              <a:avLst/>
              <a:gdLst>
                <a:gd name="connsiteX0" fmla="*/ 0 w 337201"/>
                <a:gd name="connsiteY0" fmla="*/ 0 h 344819"/>
                <a:gd name="connsiteX1" fmla="*/ 177413 w 337201"/>
                <a:gd name="connsiteY1" fmla="*/ 0 h 344819"/>
                <a:gd name="connsiteX2" fmla="*/ 337201 w 337201"/>
                <a:gd name="connsiteY2" fmla="*/ 111130 h 344819"/>
                <a:gd name="connsiteX3" fmla="*/ 337201 w 337201"/>
                <a:gd name="connsiteY3" fmla="*/ 344819 h 344819"/>
                <a:gd name="connsiteX4" fmla="*/ 0 w 337201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201" h="344819">
                  <a:moveTo>
                    <a:pt x="0" y="0"/>
                  </a:moveTo>
                  <a:lnTo>
                    <a:pt x="177413" y="0"/>
                  </a:lnTo>
                  <a:lnTo>
                    <a:pt x="337201" y="111130"/>
                  </a:lnTo>
                  <a:lnTo>
                    <a:pt x="337201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6F13C4BA-3024-4FB0-9B6B-47A5B558035A}"/>
                </a:ext>
              </a:extLst>
            </p:cNvPr>
            <p:cNvSpPr/>
            <p:nvPr/>
          </p:nvSpPr>
          <p:spPr>
            <a:xfrm>
              <a:off x="11330120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8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8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36FBC37-DF57-46B8-9978-E944E3AA9B6A}"/>
                </a:ext>
              </a:extLst>
            </p:cNvPr>
            <p:cNvSpPr/>
            <p:nvPr/>
          </p:nvSpPr>
          <p:spPr>
            <a:xfrm>
              <a:off x="12010872" y="1"/>
              <a:ext cx="181128" cy="236893"/>
            </a:xfrm>
            <a:custGeom>
              <a:avLst/>
              <a:gdLst>
                <a:gd name="connsiteX0" fmla="*/ 0 w 181128"/>
                <a:gd name="connsiteY0" fmla="*/ 0 h 236893"/>
                <a:gd name="connsiteX1" fmla="*/ 176777 w 181128"/>
                <a:gd name="connsiteY1" fmla="*/ 0 h 236893"/>
                <a:gd name="connsiteX2" fmla="*/ 181128 w 181128"/>
                <a:gd name="connsiteY2" fmla="*/ 3026 h 236893"/>
                <a:gd name="connsiteX3" fmla="*/ 181128 w 181128"/>
                <a:gd name="connsiteY3" fmla="*/ 236893 h 236893"/>
                <a:gd name="connsiteX4" fmla="*/ 0 w 181128"/>
                <a:gd name="connsiteY4" fmla="*/ 111130 h 236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128" h="236893">
                  <a:moveTo>
                    <a:pt x="0" y="0"/>
                  </a:moveTo>
                  <a:lnTo>
                    <a:pt x="176777" y="0"/>
                  </a:lnTo>
                  <a:lnTo>
                    <a:pt x="181128" y="3026"/>
                  </a:lnTo>
                  <a:lnTo>
                    <a:pt x="181128" y="236893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C764A050-800F-4349-8A14-A6F0F97184CD}"/>
                </a:ext>
              </a:extLst>
            </p:cNvPr>
            <p:cNvSpPr/>
            <p:nvPr/>
          </p:nvSpPr>
          <p:spPr>
            <a:xfrm>
              <a:off x="12010873" y="1061762"/>
              <a:ext cx="181127" cy="594412"/>
            </a:xfrm>
            <a:custGeom>
              <a:avLst/>
              <a:gdLst>
                <a:gd name="connsiteX0" fmla="*/ 0 w 181127"/>
                <a:gd name="connsiteY0" fmla="*/ 0 h 594412"/>
                <a:gd name="connsiteX1" fmla="*/ 167647 w 181127"/>
                <a:gd name="connsiteY1" fmla="*/ 116845 h 594412"/>
                <a:gd name="connsiteX2" fmla="*/ 167647 w 181127"/>
                <a:gd name="connsiteY2" fmla="*/ 351169 h 594412"/>
                <a:gd name="connsiteX3" fmla="*/ 181127 w 181127"/>
                <a:gd name="connsiteY3" fmla="*/ 360544 h 594412"/>
                <a:gd name="connsiteX4" fmla="*/ 181127 w 181127"/>
                <a:gd name="connsiteY4" fmla="*/ 594412 h 594412"/>
                <a:gd name="connsiteX5" fmla="*/ 0 w 181127"/>
                <a:gd name="connsiteY5" fmla="*/ 468649 h 594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1127" h="594412">
                  <a:moveTo>
                    <a:pt x="0" y="0"/>
                  </a:moveTo>
                  <a:lnTo>
                    <a:pt x="167647" y="116845"/>
                  </a:lnTo>
                  <a:lnTo>
                    <a:pt x="167647" y="351169"/>
                  </a:lnTo>
                  <a:lnTo>
                    <a:pt x="181127" y="360544"/>
                  </a:lnTo>
                  <a:lnTo>
                    <a:pt x="181127" y="594412"/>
                  </a:lnTo>
                  <a:lnTo>
                    <a:pt x="0" y="46864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046F198D-5084-48A9-8C84-7DB2CEC8A4EC}"/>
                </a:ext>
              </a:extLst>
            </p:cNvPr>
            <p:cNvSpPr/>
            <p:nvPr/>
          </p:nvSpPr>
          <p:spPr>
            <a:xfrm>
              <a:off x="11841955" y="1771720"/>
              <a:ext cx="333390" cy="463568"/>
            </a:xfrm>
            <a:custGeom>
              <a:avLst/>
              <a:gdLst>
                <a:gd name="connsiteX0" fmla="*/ 166378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D89682F6-96A5-41BF-82A7-8041CD27DFCA}"/>
                </a:ext>
              </a:extLst>
            </p:cNvPr>
            <p:cNvSpPr/>
            <p:nvPr/>
          </p:nvSpPr>
          <p:spPr>
            <a:xfrm>
              <a:off x="11671767" y="1533586"/>
              <a:ext cx="520233" cy="351169"/>
            </a:xfrm>
            <a:custGeom>
              <a:avLst/>
              <a:gdLst>
                <a:gd name="connsiteX0" fmla="*/ 337201 w 520233"/>
                <a:gd name="connsiteY0" fmla="*/ 0 h 351169"/>
                <a:gd name="connsiteX1" fmla="*/ 520233 w 520233"/>
                <a:gd name="connsiteY1" fmla="*/ 127191 h 351169"/>
                <a:gd name="connsiteX2" fmla="*/ 520233 w 520233"/>
                <a:gd name="connsiteY2" fmla="*/ 341190 h 351169"/>
                <a:gd name="connsiteX3" fmla="*/ 506753 w 520233"/>
                <a:gd name="connsiteY3" fmla="*/ 350534 h 351169"/>
                <a:gd name="connsiteX4" fmla="*/ 338470 w 520233"/>
                <a:gd name="connsiteY4" fmla="*/ 234324 h 351169"/>
                <a:gd name="connsiteX5" fmla="*/ 337201 w 520233"/>
                <a:gd name="connsiteY5" fmla="*/ 233689 h 351169"/>
                <a:gd name="connsiteX6" fmla="*/ 168283 w 520233"/>
                <a:gd name="connsiteY6" fmla="*/ 351169 h 351169"/>
                <a:gd name="connsiteX7" fmla="*/ 0 w 520233"/>
                <a:gd name="connsiteY7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0233" h="351169">
                  <a:moveTo>
                    <a:pt x="337201" y="0"/>
                  </a:moveTo>
                  <a:lnTo>
                    <a:pt x="520233" y="127191"/>
                  </a:lnTo>
                  <a:lnTo>
                    <a:pt x="520233" y="341190"/>
                  </a:lnTo>
                  <a:lnTo>
                    <a:pt x="506753" y="350534"/>
                  </a:lnTo>
                  <a:lnTo>
                    <a:pt x="338470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0C05325F-FB04-4D3F-81DA-A8A1958800B0}"/>
                </a:ext>
              </a:extLst>
            </p:cNvPr>
            <p:cNvSpPr/>
            <p:nvPr/>
          </p:nvSpPr>
          <p:spPr>
            <a:xfrm>
              <a:off x="11670497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CEAF07ED-FD46-4A60-A12C-6191D530088B}"/>
                </a:ext>
              </a:extLst>
            </p:cNvPr>
            <p:cNvSpPr/>
            <p:nvPr/>
          </p:nvSpPr>
          <p:spPr>
            <a:xfrm>
              <a:off x="6225117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647D2024-98F1-4BD4-B343-DAD63E339990}"/>
                </a:ext>
              </a:extLst>
            </p:cNvPr>
            <p:cNvSpPr/>
            <p:nvPr/>
          </p:nvSpPr>
          <p:spPr>
            <a:xfrm>
              <a:off x="6905869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5E4F5D25-29A7-44F3-8A09-0B85AB758663}"/>
                </a:ext>
              </a:extLst>
            </p:cNvPr>
            <p:cNvSpPr/>
            <p:nvPr/>
          </p:nvSpPr>
          <p:spPr>
            <a:xfrm>
              <a:off x="7586621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1AE80838-AA85-408D-A5A3-57703C8D7194}"/>
                </a:ext>
              </a:extLst>
            </p:cNvPr>
            <p:cNvSpPr/>
            <p:nvPr/>
          </p:nvSpPr>
          <p:spPr>
            <a:xfrm>
              <a:off x="8267372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FD0A565E-C13F-4E69-81C4-EF204B972380}"/>
                </a:ext>
              </a:extLst>
            </p:cNvPr>
            <p:cNvSpPr/>
            <p:nvPr/>
          </p:nvSpPr>
          <p:spPr>
            <a:xfrm>
              <a:off x="8948124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59F79212-CAEE-4FFE-B3AB-0F52E40D66A7}"/>
                </a:ext>
              </a:extLst>
            </p:cNvPr>
            <p:cNvSpPr/>
            <p:nvPr/>
          </p:nvSpPr>
          <p:spPr>
            <a:xfrm>
              <a:off x="9628876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00B462F9-1955-491B-A597-8C3AB0118874}"/>
                </a:ext>
              </a:extLst>
            </p:cNvPr>
            <p:cNvSpPr/>
            <p:nvPr/>
          </p:nvSpPr>
          <p:spPr>
            <a:xfrm>
              <a:off x="10308993" y="352439"/>
              <a:ext cx="337201" cy="702338"/>
            </a:xfrm>
            <a:custGeom>
              <a:avLst/>
              <a:gdLst>
                <a:gd name="connsiteX0" fmla="*/ 168283 w 337201"/>
                <a:gd name="connsiteY0" fmla="*/ 116210 h 702338"/>
                <a:gd name="connsiteX1" fmla="*/ 168283 w 337201"/>
                <a:gd name="connsiteY1" fmla="*/ 351169 h 702338"/>
                <a:gd name="connsiteX2" fmla="*/ 337201 w 337201"/>
                <a:gd name="connsiteY2" fmla="*/ 468649 h 702338"/>
                <a:gd name="connsiteX3" fmla="*/ 337201 w 337201"/>
                <a:gd name="connsiteY3" fmla="*/ 702338 h 702338"/>
                <a:gd name="connsiteX4" fmla="*/ 0 w 337201"/>
                <a:gd name="connsiteY4" fmla="*/ 468014 h 702338"/>
                <a:gd name="connsiteX5" fmla="*/ 0 w 337201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1" h="702338">
                  <a:moveTo>
                    <a:pt x="168283" y="116210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D846CD6-9740-4A70-9C92-C1EF15D475DB}"/>
                </a:ext>
              </a:extLst>
            </p:cNvPr>
            <p:cNvSpPr/>
            <p:nvPr/>
          </p:nvSpPr>
          <p:spPr>
            <a:xfrm>
              <a:off x="10989745" y="352439"/>
              <a:ext cx="337200" cy="702338"/>
            </a:xfrm>
            <a:custGeom>
              <a:avLst/>
              <a:gdLst>
                <a:gd name="connsiteX0" fmla="*/ 168283 w 337200"/>
                <a:gd name="connsiteY0" fmla="*/ 116210 h 702338"/>
                <a:gd name="connsiteX1" fmla="*/ 168283 w 337200"/>
                <a:gd name="connsiteY1" fmla="*/ 351169 h 702338"/>
                <a:gd name="connsiteX2" fmla="*/ 337201 w 337200"/>
                <a:gd name="connsiteY2" fmla="*/ 468649 h 702338"/>
                <a:gd name="connsiteX3" fmla="*/ 337201 w 337200"/>
                <a:gd name="connsiteY3" fmla="*/ 702338 h 702338"/>
                <a:gd name="connsiteX4" fmla="*/ 0 w 337200"/>
                <a:gd name="connsiteY4" fmla="*/ 468014 h 702338"/>
                <a:gd name="connsiteX5" fmla="*/ 0 w 337200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8">
                  <a:moveTo>
                    <a:pt x="168283" y="116210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1E6B00F-6E1D-4F08-A671-8F4ED750732A}"/>
                </a:ext>
              </a:extLst>
            </p:cNvPr>
            <p:cNvSpPr/>
            <p:nvPr/>
          </p:nvSpPr>
          <p:spPr>
            <a:xfrm>
              <a:off x="11670497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CA6F2F23-1DBB-414D-88DC-583BB6E462CF}"/>
                </a:ext>
              </a:extLst>
            </p:cNvPr>
            <p:cNvSpPr/>
            <p:nvPr/>
          </p:nvSpPr>
          <p:spPr>
            <a:xfrm>
              <a:off x="11330121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24309412-4EAB-4705-8A4C-685D6C093D86}"/>
                </a:ext>
              </a:extLst>
            </p:cNvPr>
            <p:cNvSpPr/>
            <p:nvPr/>
          </p:nvSpPr>
          <p:spPr>
            <a:xfrm>
              <a:off x="11330121" y="2481044"/>
              <a:ext cx="336565" cy="702337"/>
            </a:xfrm>
            <a:custGeom>
              <a:avLst/>
              <a:gdLst>
                <a:gd name="connsiteX0" fmla="*/ 336566 w 336565"/>
                <a:gd name="connsiteY0" fmla="*/ 468649 h 702337"/>
                <a:gd name="connsiteX1" fmla="*/ 336566 w 336565"/>
                <a:gd name="connsiteY1" fmla="*/ 702338 h 702337"/>
                <a:gd name="connsiteX2" fmla="*/ 0 w 336565"/>
                <a:gd name="connsiteY2" fmla="*/ 468649 h 702337"/>
                <a:gd name="connsiteX3" fmla="*/ 0 w 336565"/>
                <a:gd name="connsiteY3" fmla="*/ 0 h 702337"/>
                <a:gd name="connsiteX4" fmla="*/ 167648 w 336565"/>
                <a:gd name="connsiteY4" fmla="*/ 116845 h 702337"/>
                <a:gd name="connsiteX5" fmla="*/ 167648 w 336565"/>
                <a:gd name="connsiteY5" fmla="*/ 351169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336566" y="468649"/>
                  </a:move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lnTo>
                    <a:pt x="167648" y="116845"/>
                  </a:lnTo>
                  <a:lnTo>
                    <a:pt x="167648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9C0B2DBC-C430-4A19-B026-9FA6F7202E01}"/>
                </a:ext>
              </a:extLst>
            </p:cNvPr>
            <p:cNvSpPr/>
            <p:nvPr/>
          </p:nvSpPr>
          <p:spPr>
            <a:xfrm>
              <a:off x="11670497" y="2717273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83167BB9-46CD-4709-911A-D1C7A6754A91}"/>
                </a:ext>
              </a:extLst>
            </p:cNvPr>
            <p:cNvSpPr/>
            <p:nvPr/>
          </p:nvSpPr>
          <p:spPr>
            <a:xfrm>
              <a:off x="11330121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BD647D22-9C60-44B8-9D3F-BBE643FADD9F}"/>
                </a:ext>
              </a:extLst>
            </p:cNvPr>
            <p:cNvSpPr/>
            <p:nvPr/>
          </p:nvSpPr>
          <p:spPr>
            <a:xfrm>
              <a:off x="5884741" y="588668"/>
              <a:ext cx="164472" cy="227974"/>
            </a:xfrm>
            <a:custGeom>
              <a:avLst/>
              <a:gdLst>
                <a:gd name="connsiteX0" fmla="*/ 164473 w 164472"/>
                <a:gd name="connsiteY0" fmla="*/ 114305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6D8CE189-30C4-4911-B40F-1FC72E907B5B}"/>
                </a:ext>
              </a:extLst>
            </p:cNvPr>
            <p:cNvSpPr/>
            <p:nvPr/>
          </p:nvSpPr>
          <p:spPr>
            <a:xfrm>
              <a:off x="5886011" y="824262"/>
              <a:ext cx="674401" cy="351169"/>
            </a:xfrm>
            <a:custGeom>
              <a:avLst/>
              <a:gdLst>
                <a:gd name="connsiteX0" fmla="*/ 337201 w 674401"/>
                <a:gd name="connsiteY0" fmla="*/ 0 h 351169"/>
                <a:gd name="connsiteX1" fmla="*/ 674402 w 674401"/>
                <a:gd name="connsiteY1" fmla="*/ 233689 h 351169"/>
                <a:gd name="connsiteX2" fmla="*/ 506754 w 674401"/>
                <a:gd name="connsiteY2" fmla="*/ 350534 h 351169"/>
                <a:gd name="connsiteX3" fmla="*/ 338471 w 674401"/>
                <a:gd name="connsiteY3" fmla="*/ 234324 h 351169"/>
                <a:gd name="connsiteX4" fmla="*/ 337201 w 674401"/>
                <a:gd name="connsiteY4" fmla="*/ 233689 h 351169"/>
                <a:gd name="connsiteX5" fmla="*/ 168283 w 674401"/>
                <a:gd name="connsiteY5" fmla="*/ 351169 h 351169"/>
                <a:gd name="connsiteX6" fmla="*/ 0 w 674401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7201" y="0"/>
                  </a:moveTo>
                  <a:lnTo>
                    <a:pt x="674402" y="233689"/>
                  </a:lnTo>
                  <a:lnTo>
                    <a:pt x="506754" y="350534"/>
                  </a:lnTo>
                  <a:lnTo>
                    <a:pt x="338471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7C4FBE59-F683-4E27-8E31-9228C4F0291C}"/>
                </a:ext>
              </a:extLst>
            </p:cNvPr>
            <p:cNvSpPr/>
            <p:nvPr/>
          </p:nvSpPr>
          <p:spPr>
            <a:xfrm>
              <a:off x="6565493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D519D4CC-4667-4937-AC8A-C1BE2B8F60F3}"/>
                </a:ext>
              </a:extLst>
            </p:cNvPr>
            <p:cNvSpPr/>
            <p:nvPr/>
          </p:nvSpPr>
          <p:spPr>
            <a:xfrm>
              <a:off x="6566763" y="824262"/>
              <a:ext cx="674401" cy="351169"/>
            </a:xfrm>
            <a:custGeom>
              <a:avLst/>
              <a:gdLst>
                <a:gd name="connsiteX0" fmla="*/ 337201 w 674401"/>
                <a:gd name="connsiteY0" fmla="*/ 0 h 351169"/>
                <a:gd name="connsiteX1" fmla="*/ 674402 w 674401"/>
                <a:gd name="connsiteY1" fmla="*/ 233689 h 351169"/>
                <a:gd name="connsiteX2" fmla="*/ 506754 w 674401"/>
                <a:gd name="connsiteY2" fmla="*/ 350534 h 351169"/>
                <a:gd name="connsiteX3" fmla="*/ 338471 w 674401"/>
                <a:gd name="connsiteY3" fmla="*/ 234324 h 351169"/>
                <a:gd name="connsiteX4" fmla="*/ 337201 w 674401"/>
                <a:gd name="connsiteY4" fmla="*/ 233689 h 351169"/>
                <a:gd name="connsiteX5" fmla="*/ 168283 w 674401"/>
                <a:gd name="connsiteY5" fmla="*/ 351169 h 351169"/>
                <a:gd name="connsiteX6" fmla="*/ 0 w 674401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7201" y="0"/>
                  </a:moveTo>
                  <a:lnTo>
                    <a:pt x="674402" y="233689"/>
                  </a:lnTo>
                  <a:lnTo>
                    <a:pt x="506754" y="350534"/>
                  </a:lnTo>
                  <a:lnTo>
                    <a:pt x="338471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3636842B-DCE3-4F08-85A2-DADA9D687C33}"/>
                </a:ext>
              </a:extLst>
            </p:cNvPr>
            <p:cNvSpPr/>
            <p:nvPr/>
          </p:nvSpPr>
          <p:spPr>
            <a:xfrm>
              <a:off x="7246245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3DA9BF26-63B9-4D35-9BBD-838100622B0D}"/>
                </a:ext>
              </a:extLst>
            </p:cNvPr>
            <p:cNvSpPr/>
            <p:nvPr/>
          </p:nvSpPr>
          <p:spPr>
            <a:xfrm>
              <a:off x="7247515" y="824262"/>
              <a:ext cx="674401" cy="351169"/>
            </a:xfrm>
            <a:custGeom>
              <a:avLst/>
              <a:gdLst>
                <a:gd name="connsiteX0" fmla="*/ 337201 w 674401"/>
                <a:gd name="connsiteY0" fmla="*/ 0 h 351169"/>
                <a:gd name="connsiteX1" fmla="*/ 674402 w 674401"/>
                <a:gd name="connsiteY1" fmla="*/ 233689 h 351169"/>
                <a:gd name="connsiteX2" fmla="*/ 506754 w 674401"/>
                <a:gd name="connsiteY2" fmla="*/ 350534 h 351169"/>
                <a:gd name="connsiteX3" fmla="*/ 337836 w 674401"/>
                <a:gd name="connsiteY3" fmla="*/ 234324 h 351169"/>
                <a:gd name="connsiteX4" fmla="*/ 337201 w 674401"/>
                <a:gd name="connsiteY4" fmla="*/ 233689 h 351169"/>
                <a:gd name="connsiteX5" fmla="*/ 168283 w 674401"/>
                <a:gd name="connsiteY5" fmla="*/ 351169 h 351169"/>
                <a:gd name="connsiteX6" fmla="*/ 0 w 674401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7201" y="0"/>
                  </a:moveTo>
                  <a:lnTo>
                    <a:pt x="674402" y="233689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3E6731B1-220D-481E-88A1-E81C15364115}"/>
                </a:ext>
              </a:extLst>
            </p:cNvPr>
            <p:cNvSpPr/>
            <p:nvPr/>
          </p:nvSpPr>
          <p:spPr>
            <a:xfrm>
              <a:off x="7926997" y="588668"/>
              <a:ext cx="163837" cy="227974"/>
            </a:xfrm>
            <a:custGeom>
              <a:avLst/>
              <a:gdLst>
                <a:gd name="connsiteX0" fmla="*/ 163838 w 163837"/>
                <a:gd name="connsiteY0" fmla="*/ 114305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B67BA01E-07D3-4CE3-8B5C-A032BAEA7BFD}"/>
                </a:ext>
              </a:extLst>
            </p:cNvPr>
            <p:cNvSpPr/>
            <p:nvPr/>
          </p:nvSpPr>
          <p:spPr>
            <a:xfrm>
              <a:off x="7928267" y="824262"/>
              <a:ext cx="674401" cy="351169"/>
            </a:xfrm>
            <a:custGeom>
              <a:avLst/>
              <a:gdLst>
                <a:gd name="connsiteX0" fmla="*/ 337201 w 674401"/>
                <a:gd name="connsiteY0" fmla="*/ 0 h 351169"/>
                <a:gd name="connsiteX1" fmla="*/ 674401 w 674401"/>
                <a:gd name="connsiteY1" fmla="*/ 233689 h 351169"/>
                <a:gd name="connsiteX2" fmla="*/ 506754 w 674401"/>
                <a:gd name="connsiteY2" fmla="*/ 350534 h 351169"/>
                <a:gd name="connsiteX3" fmla="*/ 337836 w 674401"/>
                <a:gd name="connsiteY3" fmla="*/ 234324 h 351169"/>
                <a:gd name="connsiteX4" fmla="*/ 337201 w 674401"/>
                <a:gd name="connsiteY4" fmla="*/ 233689 h 351169"/>
                <a:gd name="connsiteX5" fmla="*/ 168283 w 674401"/>
                <a:gd name="connsiteY5" fmla="*/ 351169 h 351169"/>
                <a:gd name="connsiteX6" fmla="*/ 0 w 674401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7201" y="0"/>
                  </a:moveTo>
                  <a:lnTo>
                    <a:pt x="674401" y="233689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6F9CA08F-42C7-4CFD-9F37-C10337C2F2AE}"/>
                </a:ext>
              </a:extLst>
            </p:cNvPr>
            <p:cNvSpPr/>
            <p:nvPr/>
          </p:nvSpPr>
          <p:spPr>
            <a:xfrm>
              <a:off x="8607749" y="588668"/>
              <a:ext cx="163837" cy="227974"/>
            </a:xfrm>
            <a:custGeom>
              <a:avLst/>
              <a:gdLst>
                <a:gd name="connsiteX0" fmla="*/ 163838 w 163837"/>
                <a:gd name="connsiteY0" fmla="*/ 114305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2BE5FE9D-21F9-4C4C-85BB-EEB31817DFC9}"/>
                </a:ext>
              </a:extLst>
            </p:cNvPr>
            <p:cNvSpPr/>
            <p:nvPr/>
          </p:nvSpPr>
          <p:spPr>
            <a:xfrm>
              <a:off x="8609018" y="824262"/>
              <a:ext cx="673766" cy="351169"/>
            </a:xfrm>
            <a:custGeom>
              <a:avLst/>
              <a:gdLst>
                <a:gd name="connsiteX0" fmla="*/ 337201 w 673766"/>
                <a:gd name="connsiteY0" fmla="*/ 0 h 351169"/>
                <a:gd name="connsiteX1" fmla="*/ 673767 w 673766"/>
                <a:gd name="connsiteY1" fmla="*/ 233689 h 351169"/>
                <a:gd name="connsiteX2" fmla="*/ 506119 w 673766"/>
                <a:gd name="connsiteY2" fmla="*/ 350534 h 351169"/>
                <a:gd name="connsiteX3" fmla="*/ 337836 w 673766"/>
                <a:gd name="connsiteY3" fmla="*/ 234324 h 351169"/>
                <a:gd name="connsiteX4" fmla="*/ 337201 w 673766"/>
                <a:gd name="connsiteY4" fmla="*/ 233689 h 351169"/>
                <a:gd name="connsiteX5" fmla="*/ 168283 w 673766"/>
                <a:gd name="connsiteY5" fmla="*/ 351169 h 351169"/>
                <a:gd name="connsiteX6" fmla="*/ 0 w 673766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337201" y="0"/>
                  </a:moveTo>
                  <a:lnTo>
                    <a:pt x="673767" y="233689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B18E07B5-5A05-46CF-AF1E-74FB011B05C1}"/>
                </a:ext>
              </a:extLst>
            </p:cNvPr>
            <p:cNvSpPr/>
            <p:nvPr/>
          </p:nvSpPr>
          <p:spPr>
            <a:xfrm>
              <a:off x="9288500" y="588668"/>
              <a:ext cx="163837" cy="227974"/>
            </a:xfrm>
            <a:custGeom>
              <a:avLst/>
              <a:gdLst>
                <a:gd name="connsiteX0" fmla="*/ 0 w 163837"/>
                <a:gd name="connsiteY0" fmla="*/ 0 h 227974"/>
                <a:gd name="connsiteX1" fmla="*/ 163838 w 163837"/>
                <a:gd name="connsiteY1" fmla="*/ 114305 h 227974"/>
                <a:gd name="connsiteX2" fmla="*/ 0 w 163837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0" y="0"/>
                  </a:moveTo>
                  <a:lnTo>
                    <a:pt x="163838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0B77125-FE0A-4BB8-AA32-C0C760E202CF}"/>
                </a:ext>
              </a:extLst>
            </p:cNvPr>
            <p:cNvSpPr/>
            <p:nvPr/>
          </p:nvSpPr>
          <p:spPr>
            <a:xfrm>
              <a:off x="9289770" y="824262"/>
              <a:ext cx="673766" cy="351169"/>
            </a:xfrm>
            <a:custGeom>
              <a:avLst/>
              <a:gdLst>
                <a:gd name="connsiteX0" fmla="*/ 337201 w 673766"/>
                <a:gd name="connsiteY0" fmla="*/ 0 h 351169"/>
                <a:gd name="connsiteX1" fmla="*/ 673767 w 673766"/>
                <a:gd name="connsiteY1" fmla="*/ 233689 h 351169"/>
                <a:gd name="connsiteX2" fmla="*/ 506119 w 673766"/>
                <a:gd name="connsiteY2" fmla="*/ 350534 h 351169"/>
                <a:gd name="connsiteX3" fmla="*/ 337836 w 673766"/>
                <a:gd name="connsiteY3" fmla="*/ 234324 h 351169"/>
                <a:gd name="connsiteX4" fmla="*/ 337201 w 673766"/>
                <a:gd name="connsiteY4" fmla="*/ 233689 h 351169"/>
                <a:gd name="connsiteX5" fmla="*/ 168283 w 673766"/>
                <a:gd name="connsiteY5" fmla="*/ 351169 h 351169"/>
                <a:gd name="connsiteX6" fmla="*/ 0 w 673766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337201" y="0"/>
                  </a:moveTo>
                  <a:lnTo>
                    <a:pt x="673767" y="233689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7F10CAC9-5E2F-4D4B-8762-1EE74B2EE4C7}"/>
                </a:ext>
              </a:extLst>
            </p:cNvPr>
            <p:cNvSpPr/>
            <p:nvPr/>
          </p:nvSpPr>
          <p:spPr>
            <a:xfrm>
              <a:off x="9968617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2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2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DA3B5C39-F1BB-4A8E-8E22-5D750A638332}"/>
                </a:ext>
              </a:extLst>
            </p:cNvPr>
            <p:cNvSpPr/>
            <p:nvPr/>
          </p:nvSpPr>
          <p:spPr>
            <a:xfrm>
              <a:off x="9970522" y="824262"/>
              <a:ext cx="673766" cy="351169"/>
            </a:xfrm>
            <a:custGeom>
              <a:avLst/>
              <a:gdLst>
                <a:gd name="connsiteX0" fmla="*/ 336566 w 673766"/>
                <a:gd name="connsiteY0" fmla="*/ 0 h 351169"/>
                <a:gd name="connsiteX1" fmla="*/ 673766 w 673766"/>
                <a:gd name="connsiteY1" fmla="*/ 233689 h 351169"/>
                <a:gd name="connsiteX2" fmla="*/ 506119 w 673766"/>
                <a:gd name="connsiteY2" fmla="*/ 350534 h 351169"/>
                <a:gd name="connsiteX3" fmla="*/ 337836 w 673766"/>
                <a:gd name="connsiteY3" fmla="*/ 234324 h 351169"/>
                <a:gd name="connsiteX4" fmla="*/ 336566 w 673766"/>
                <a:gd name="connsiteY4" fmla="*/ 233689 h 351169"/>
                <a:gd name="connsiteX5" fmla="*/ 168283 w 673766"/>
                <a:gd name="connsiteY5" fmla="*/ 351169 h 351169"/>
                <a:gd name="connsiteX6" fmla="*/ 0 w 673766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336566" y="0"/>
                  </a:moveTo>
                  <a:lnTo>
                    <a:pt x="673766" y="233689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6566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1C23EC0F-A6E1-40B6-884C-76B1582A16F8}"/>
                </a:ext>
              </a:extLst>
            </p:cNvPr>
            <p:cNvSpPr/>
            <p:nvPr/>
          </p:nvSpPr>
          <p:spPr>
            <a:xfrm>
              <a:off x="10649369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2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2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24328EBA-4DDC-4236-B440-BF0A104F46E2}"/>
                </a:ext>
              </a:extLst>
            </p:cNvPr>
            <p:cNvSpPr/>
            <p:nvPr/>
          </p:nvSpPr>
          <p:spPr>
            <a:xfrm>
              <a:off x="10651274" y="824262"/>
              <a:ext cx="673766" cy="351169"/>
            </a:xfrm>
            <a:custGeom>
              <a:avLst/>
              <a:gdLst>
                <a:gd name="connsiteX0" fmla="*/ 336565 w 673766"/>
                <a:gd name="connsiteY0" fmla="*/ 0 h 351169"/>
                <a:gd name="connsiteX1" fmla="*/ 673767 w 673766"/>
                <a:gd name="connsiteY1" fmla="*/ 233689 h 351169"/>
                <a:gd name="connsiteX2" fmla="*/ 506119 w 673766"/>
                <a:gd name="connsiteY2" fmla="*/ 350534 h 351169"/>
                <a:gd name="connsiteX3" fmla="*/ 337836 w 673766"/>
                <a:gd name="connsiteY3" fmla="*/ 234324 h 351169"/>
                <a:gd name="connsiteX4" fmla="*/ 336565 w 673766"/>
                <a:gd name="connsiteY4" fmla="*/ 233689 h 351169"/>
                <a:gd name="connsiteX5" fmla="*/ 168283 w 673766"/>
                <a:gd name="connsiteY5" fmla="*/ 351169 h 351169"/>
                <a:gd name="connsiteX6" fmla="*/ 0 w 673766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336565" y="0"/>
                  </a:moveTo>
                  <a:lnTo>
                    <a:pt x="673767" y="233689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6565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D90F04C2-DE22-476E-90B0-F39240F8C370}"/>
                </a:ext>
              </a:extLst>
            </p:cNvPr>
            <p:cNvSpPr/>
            <p:nvPr/>
          </p:nvSpPr>
          <p:spPr>
            <a:xfrm>
              <a:off x="11330121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83F901A7-A96D-4225-B56B-097F10BA4198}"/>
                </a:ext>
              </a:extLst>
            </p:cNvPr>
            <p:cNvSpPr/>
            <p:nvPr/>
          </p:nvSpPr>
          <p:spPr>
            <a:xfrm>
              <a:off x="11330121" y="1061762"/>
              <a:ext cx="336565" cy="702338"/>
            </a:xfrm>
            <a:custGeom>
              <a:avLst/>
              <a:gdLst>
                <a:gd name="connsiteX0" fmla="*/ 336566 w 336565"/>
                <a:gd name="connsiteY0" fmla="*/ 468649 h 702338"/>
                <a:gd name="connsiteX1" fmla="*/ 336566 w 336565"/>
                <a:gd name="connsiteY1" fmla="*/ 702338 h 702338"/>
                <a:gd name="connsiteX2" fmla="*/ 0 w 336565"/>
                <a:gd name="connsiteY2" fmla="*/ 468649 h 702338"/>
                <a:gd name="connsiteX3" fmla="*/ 0 w 336565"/>
                <a:gd name="connsiteY3" fmla="*/ 0 h 702338"/>
                <a:gd name="connsiteX4" fmla="*/ 167648 w 336565"/>
                <a:gd name="connsiteY4" fmla="*/ 116845 h 702338"/>
                <a:gd name="connsiteX5" fmla="*/ 167648 w 336565"/>
                <a:gd name="connsiteY5" fmla="*/ 351169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336566" y="468649"/>
                  </a:move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lnTo>
                    <a:pt x="167648" y="116845"/>
                  </a:lnTo>
                  <a:lnTo>
                    <a:pt x="167648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B8C23906-A74F-484F-B5D0-F8D1D70E416B}"/>
                </a:ext>
              </a:extLst>
            </p:cNvPr>
            <p:cNvSpPr/>
            <p:nvPr/>
          </p:nvSpPr>
          <p:spPr>
            <a:xfrm>
              <a:off x="11670497" y="1297991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617012FE-D9A3-40B2-917B-05B21C90D142}"/>
                </a:ext>
              </a:extLst>
            </p:cNvPr>
            <p:cNvSpPr/>
            <p:nvPr/>
          </p:nvSpPr>
          <p:spPr>
            <a:xfrm>
              <a:off x="5884741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AEF34A93-EB7C-48BD-B3A6-4C56EECA01A5}"/>
                </a:ext>
              </a:extLst>
            </p:cNvPr>
            <p:cNvSpPr/>
            <p:nvPr/>
          </p:nvSpPr>
          <p:spPr>
            <a:xfrm>
              <a:off x="6565493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8238E33-6A82-49C9-A952-76FDF8F1FE43}"/>
                </a:ext>
              </a:extLst>
            </p:cNvPr>
            <p:cNvSpPr/>
            <p:nvPr/>
          </p:nvSpPr>
          <p:spPr>
            <a:xfrm>
              <a:off x="7246245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25DF4D9B-EE59-4AD9-B375-3288C1C1B918}"/>
                </a:ext>
              </a:extLst>
            </p:cNvPr>
            <p:cNvSpPr/>
            <p:nvPr/>
          </p:nvSpPr>
          <p:spPr>
            <a:xfrm>
              <a:off x="7926997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FE180511-C746-4C16-A9B7-28A0EB58DCD4}"/>
                </a:ext>
              </a:extLst>
            </p:cNvPr>
            <p:cNvSpPr/>
            <p:nvPr/>
          </p:nvSpPr>
          <p:spPr>
            <a:xfrm>
              <a:off x="8607749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F35AF811-12BC-469A-805D-3D67E3B3FECF}"/>
                </a:ext>
              </a:extLst>
            </p:cNvPr>
            <p:cNvSpPr/>
            <p:nvPr/>
          </p:nvSpPr>
          <p:spPr>
            <a:xfrm>
              <a:off x="9288500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0C82A089-6B43-410E-8EB1-81A84B4636F9}"/>
                </a:ext>
              </a:extLst>
            </p:cNvPr>
            <p:cNvSpPr/>
            <p:nvPr/>
          </p:nvSpPr>
          <p:spPr>
            <a:xfrm>
              <a:off x="9968617" y="1061762"/>
              <a:ext cx="337200" cy="702338"/>
            </a:xfrm>
            <a:custGeom>
              <a:avLst/>
              <a:gdLst>
                <a:gd name="connsiteX0" fmla="*/ 168283 w 337200"/>
                <a:gd name="connsiteY0" fmla="*/ 116845 h 702338"/>
                <a:gd name="connsiteX1" fmla="*/ 168283 w 337200"/>
                <a:gd name="connsiteY1" fmla="*/ 351169 h 702338"/>
                <a:gd name="connsiteX2" fmla="*/ 337201 w 337200"/>
                <a:gd name="connsiteY2" fmla="*/ 468649 h 702338"/>
                <a:gd name="connsiteX3" fmla="*/ 337201 w 337200"/>
                <a:gd name="connsiteY3" fmla="*/ 702338 h 702338"/>
                <a:gd name="connsiteX4" fmla="*/ 0 w 337200"/>
                <a:gd name="connsiteY4" fmla="*/ 468649 h 702338"/>
                <a:gd name="connsiteX5" fmla="*/ 0 w 337200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8">
                  <a:moveTo>
                    <a:pt x="168283" y="116845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6A892B4-E765-440F-902C-C7B744380C77}"/>
                </a:ext>
              </a:extLst>
            </p:cNvPr>
            <p:cNvSpPr/>
            <p:nvPr/>
          </p:nvSpPr>
          <p:spPr>
            <a:xfrm>
              <a:off x="10649369" y="1061762"/>
              <a:ext cx="337200" cy="702338"/>
            </a:xfrm>
            <a:custGeom>
              <a:avLst/>
              <a:gdLst>
                <a:gd name="connsiteX0" fmla="*/ 168283 w 337200"/>
                <a:gd name="connsiteY0" fmla="*/ 116845 h 702338"/>
                <a:gd name="connsiteX1" fmla="*/ 168283 w 337200"/>
                <a:gd name="connsiteY1" fmla="*/ 351169 h 702338"/>
                <a:gd name="connsiteX2" fmla="*/ 337201 w 337200"/>
                <a:gd name="connsiteY2" fmla="*/ 468649 h 702338"/>
                <a:gd name="connsiteX3" fmla="*/ 337201 w 337200"/>
                <a:gd name="connsiteY3" fmla="*/ 702338 h 702338"/>
                <a:gd name="connsiteX4" fmla="*/ 0 w 337200"/>
                <a:gd name="connsiteY4" fmla="*/ 468649 h 702338"/>
                <a:gd name="connsiteX5" fmla="*/ 0 w 337200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8">
                  <a:moveTo>
                    <a:pt x="168283" y="116845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F8946D8A-C4D0-4B6B-BC13-9085E87B09A1}"/>
                </a:ext>
              </a:extLst>
            </p:cNvPr>
            <p:cNvSpPr/>
            <p:nvPr/>
          </p:nvSpPr>
          <p:spPr>
            <a:xfrm>
              <a:off x="10989745" y="1298626"/>
              <a:ext cx="336565" cy="465473"/>
            </a:xfrm>
            <a:custGeom>
              <a:avLst/>
              <a:gdLst>
                <a:gd name="connsiteX0" fmla="*/ 336566 w 336565"/>
                <a:gd name="connsiteY0" fmla="*/ 231784 h 465473"/>
                <a:gd name="connsiteX1" fmla="*/ 0 w 336565"/>
                <a:gd name="connsiteY1" fmla="*/ 465474 h 465473"/>
                <a:gd name="connsiteX2" fmla="*/ 0 w 336565"/>
                <a:gd name="connsiteY2" fmla="*/ 231784 h 465473"/>
                <a:gd name="connsiteX3" fmla="*/ 336566 w 336565"/>
                <a:gd name="connsiteY3" fmla="*/ 0 h 46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5473">
                  <a:moveTo>
                    <a:pt x="336566" y="231784"/>
                  </a:moveTo>
                  <a:lnTo>
                    <a:pt x="0" y="465474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411E3C16-5FC0-45F0-A5EE-F8279D9465BB}"/>
                </a:ext>
              </a:extLst>
            </p:cNvPr>
            <p:cNvSpPr/>
            <p:nvPr/>
          </p:nvSpPr>
          <p:spPr>
            <a:xfrm>
              <a:off x="10989745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23FB0399-8E5D-4D7E-A112-B96C75021B37}"/>
                </a:ext>
              </a:extLst>
            </p:cNvPr>
            <p:cNvSpPr/>
            <p:nvPr/>
          </p:nvSpPr>
          <p:spPr>
            <a:xfrm>
              <a:off x="6225117" y="1297991"/>
              <a:ext cx="164472" cy="227974"/>
            </a:xfrm>
            <a:custGeom>
              <a:avLst/>
              <a:gdLst>
                <a:gd name="connsiteX0" fmla="*/ 164473 w 164472"/>
                <a:gd name="connsiteY0" fmla="*/ 114940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1ECE2692-953B-4AC1-967A-07C2B9325CE9}"/>
                </a:ext>
              </a:extLst>
            </p:cNvPr>
            <p:cNvSpPr/>
            <p:nvPr/>
          </p:nvSpPr>
          <p:spPr>
            <a:xfrm>
              <a:off x="6226387" y="1533586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8471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8471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5EF41F3E-1ED1-4531-A78F-92ECADC62005}"/>
                </a:ext>
              </a:extLst>
            </p:cNvPr>
            <p:cNvSpPr/>
            <p:nvPr/>
          </p:nvSpPr>
          <p:spPr>
            <a:xfrm>
              <a:off x="6905869" y="1297991"/>
              <a:ext cx="164472" cy="227974"/>
            </a:xfrm>
            <a:custGeom>
              <a:avLst/>
              <a:gdLst>
                <a:gd name="connsiteX0" fmla="*/ 164473 w 164472"/>
                <a:gd name="connsiteY0" fmla="*/ 114940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243E3060-ACF3-4671-8363-605AE0C6E82B}"/>
                </a:ext>
              </a:extLst>
            </p:cNvPr>
            <p:cNvSpPr/>
            <p:nvPr/>
          </p:nvSpPr>
          <p:spPr>
            <a:xfrm>
              <a:off x="6907139" y="1533586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1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1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AC77EAC-09BC-4C0A-9631-F8E8A7601F2C}"/>
                </a:ext>
              </a:extLst>
            </p:cNvPr>
            <p:cNvSpPr/>
            <p:nvPr/>
          </p:nvSpPr>
          <p:spPr>
            <a:xfrm>
              <a:off x="7586621" y="1297991"/>
              <a:ext cx="163837" cy="227974"/>
            </a:xfrm>
            <a:custGeom>
              <a:avLst/>
              <a:gdLst>
                <a:gd name="connsiteX0" fmla="*/ 0 w 163837"/>
                <a:gd name="connsiteY0" fmla="*/ 0 h 227974"/>
                <a:gd name="connsiteX1" fmla="*/ 163838 w 163837"/>
                <a:gd name="connsiteY1" fmla="*/ 114940 h 227974"/>
                <a:gd name="connsiteX2" fmla="*/ 0 w 163837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0" y="0"/>
                  </a:moveTo>
                  <a:lnTo>
                    <a:pt x="163838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0A9BF34A-5F29-4331-A5A9-368590661D06}"/>
                </a:ext>
              </a:extLst>
            </p:cNvPr>
            <p:cNvSpPr/>
            <p:nvPr/>
          </p:nvSpPr>
          <p:spPr>
            <a:xfrm>
              <a:off x="7587891" y="1533586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E51A0FD3-1C0A-46B4-B0DC-683E6C961442}"/>
                </a:ext>
              </a:extLst>
            </p:cNvPr>
            <p:cNvSpPr/>
            <p:nvPr/>
          </p:nvSpPr>
          <p:spPr>
            <a:xfrm>
              <a:off x="8267372" y="1297991"/>
              <a:ext cx="163837" cy="227974"/>
            </a:xfrm>
            <a:custGeom>
              <a:avLst/>
              <a:gdLst>
                <a:gd name="connsiteX0" fmla="*/ 0 w 163837"/>
                <a:gd name="connsiteY0" fmla="*/ 0 h 227974"/>
                <a:gd name="connsiteX1" fmla="*/ 163838 w 163837"/>
                <a:gd name="connsiteY1" fmla="*/ 114940 h 227974"/>
                <a:gd name="connsiteX2" fmla="*/ 0 w 163837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0" y="0"/>
                  </a:moveTo>
                  <a:lnTo>
                    <a:pt x="163838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89A00A66-1ED0-4EE0-9A96-086FA9F03DEB}"/>
                </a:ext>
              </a:extLst>
            </p:cNvPr>
            <p:cNvSpPr/>
            <p:nvPr/>
          </p:nvSpPr>
          <p:spPr>
            <a:xfrm>
              <a:off x="8268643" y="1533586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432786C6-288E-4BEB-959D-0E1427BC8444}"/>
                </a:ext>
              </a:extLst>
            </p:cNvPr>
            <p:cNvSpPr/>
            <p:nvPr/>
          </p:nvSpPr>
          <p:spPr>
            <a:xfrm>
              <a:off x="8948124" y="1297991"/>
              <a:ext cx="163837" cy="227974"/>
            </a:xfrm>
            <a:custGeom>
              <a:avLst/>
              <a:gdLst>
                <a:gd name="connsiteX0" fmla="*/ 163838 w 163837"/>
                <a:gd name="connsiteY0" fmla="*/ 114940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D956F3A2-7473-4D7A-81E6-1A7935A3CBCD}"/>
                </a:ext>
              </a:extLst>
            </p:cNvPr>
            <p:cNvSpPr/>
            <p:nvPr/>
          </p:nvSpPr>
          <p:spPr>
            <a:xfrm>
              <a:off x="8949395" y="1533586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6 w 673766"/>
                <a:gd name="connsiteY1" fmla="*/ 234324 h 351168"/>
                <a:gd name="connsiteX2" fmla="*/ 506119 w 673766"/>
                <a:gd name="connsiteY2" fmla="*/ 350534 h 351168"/>
                <a:gd name="connsiteX3" fmla="*/ 337836 w 673766"/>
                <a:gd name="connsiteY3" fmla="*/ 234324 h 351168"/>
                <a:gd name="connsiteX4" fmla="*/ 337201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6" y="234324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5AD55FF9-7A83-49C4-8987-6B407213FD82}"/>
                </a:ext>
              </a:extLst>
            </p:cNvPr>
            <p:cNvSpPr/>
            <p:nvPr/>
          </p:nvSpPr>
          <p:spPr>
            <a:xfrm>
              <a:off x="9628876" y="1297991"/>
              <a:ext cx="163837" cy="227974"/>
            </a:xfrm>
            <a:custGeom>
              <a:avLst/>
              <a:gdLst>
                <a:gd name="connsiteX0" fmla="*/ 163838 w 163837"/>
                <a:gd name="connsiteY0" fmla="*/ 114940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CB1CA6EF-C90C-4F5E-83D6-5836FC356AC1}"/>
                </a:ext>
              </a:extLst>
            </p:cNvPr>
            <p:cNvSpPr/>
            <p:nvPr/>
          </p:nvSpPr>
          <p:spPr>
            <a:xfrm>
              <a:off x="9630146" y="1533586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6 w 673766"/>
                <a:gd name="connsiteY1" fmla="*/ 234324 h 351168"/>
                <a:gd name="connsiteX2" fmla="*/ 506118 w 673766"/>
                <a:gd name="connsiteY2" fmla="*/ 350534 h 351168"/>
                <a:gd name="connsiteX3" fmla="*/ 337836 w 673766"/>
                <a:gd name="connsiteY3" fmla="*/ 234324 h 351168"/>
                <a:gd name="connsiteX4" fmla="*/ 337201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6" y="234324"/>
                  </a:lnTo>
                  <a:lnTo>
                    <a:pt x="506118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67569F49-3B0E-4616-8E49-14DDF3711780}"/>
                </a:ext>
              </a:extLst>
            </p:cNvPr>
            <p:cNvSpPr/>
            <p:nvPr/>
          </p:nvSpPr>
          <p:spPr>
            <a:xfrm>
              <a:off x="10308993" y="1297991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ED7F85D0-1DC8-4D42-9601-1DF3EF1B1459}"/>
                </a:ext>
              </a:extLst>
            </p:cNvPr>
            <p:cNvSpPr/>
            <p:nvPr/>
          </p:nvSpPr>
          <p:spPr>
            <a:xfrm>
              <a:off x="10310898" y="1533586"/>
              <a:ext cx="673766" cy="351168"/>
            </a:xfrm>
            <a:custGeom>
              <a:avLst/>
              <a:gdLst>
                <a:gd name="connsiteX0" fmla="*/ 336566 w 673766"/>
                <a:gd name="connsiteY0" fmla="*/ 0 h 351168"/>
                <a:gd name="connsiteX1" fmla="*/ 673766 w 673766"/>
                <a:gd name="connsiteY1" fmla="*/ 234324 h 351168"/>
                <a:gd name="connsiteX2" fmla="*/ 506119 w 673766"/>
                <a:gd name="connsiteY2" fmla="*/ 350534 h 351168"/>
                <a:gd name="connsiteX3" fmla="*/ 337836 w 673766"/>
                <a:gd name="connsiteY3" fmla="*/ 234324 h 351168"/>
                <a:gd name="connsiteX4" fmla="*/ 336566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6566" y="0"/>
                  </a:moveTo>
                  <a:lnTo>
                    <a:pt x="673766" y="234324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6566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C4B2E9D1-3071-4E57-9223-9A98C4F952D9}"/>
                </a:ext>
              </a:extLst>
            </p:cNvPr>
            <p:cNvSpPr/>
            <p:nvPr/>
          </p:nvSpPr>
          <p:spPr>
            <a:xfrm>
              <a:off x="10989745" y="1297991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7F693C5B-0DF6-4E60-AABF-9C128C0A0F37}"/>
                </a:ext>
              </a:extLst>
            </p:cNvPr>
            <p:cNvSpPr/>
            <p:nvPr/>
          </p:nvSpPr>
          <p:spPr>
            <a:xfrm>
              <a:off x="10649369" y="2007950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0 w 337200"/>
                <a:gd name="connsiteY1" fmla="*/ 466109 h 466108"/>
                <a:gd name="connsiteX2" fmla="*/ 0 w 337200"/>
                <a:gd name="connsiteY2" fmla="*/ 232419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25E6A8BA-2AE0-449D-B1E5-F4620FA8F7E8}"/>
                </a:ext>
              </a:extLst>
            </p:cNvPr>
            <p:cNvSpPr/>
            <p:nvPr/>
          </p:nvSpPr>
          <p:spPr>
            <a:xfrm>
              <a:off x="10649369" y="2481044"/>
              <a:ext cx="337200" cy="702337"/>
            </a:xfrm>
            <a:custGeom>
              <a:avLst/>
              <a:gdLst>
                <a:gd name="connsiteX0" fmla="*/ 337201 w 337200"/>
                <a:gd name="connsiteY0" fmla="*/ 468649 h 702337"/>
                <a:gd name="connsiteX1" fmla="*/ 337201 w 337200"/>
                <a:gd name="connsiteY1" fmla="*/ 702338 h 702337"/>
                <a:gd name="connsiteX2" fmla="*/ 0 w 337200"/>
                <a:gd name="connsiteY2" fmla="*/ 468649 h 702337"/>
                <a:gd name="connsiteX3" fmla="*/ 0 w 337200"/>
                <a:gd name="connsiteY3" fmla="*/ 0 h 702337"/>
                <a:gd name="connsiteX4" fmla="*/ 168283 w 337200"/>
                <a:gd name="connsiteY4" fmla="*/ 116845 h 702337"/>
                <a:gd name="connsiteX5" fmla="*/ 168283 w 337200"/>
                <a:gd name="connsiteY5" fmla="*/ 351169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7">
                  <a:moveTo>
                    <a:pt x="337201" y="468649"/>
                  </a:moveTo>
                  <a:lnTo>
                    <a:pt x="337201" y="702338"/>
                  </a:lnTo>
                  <a:lnTo>
                    <a:pt x="0" y="468649"/>
                  </a:lnTo>
                  <a:lnTo>
                    <a:pt x="0" y="0"/>
                  </a:lnTo>
                  <a:lnTo>
                    <a:pt x="168283" y="116845"/>
                  </a:lnTo>
                  <a:lnTo>
                    <a:pt x="168283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C1ADDF2A-388B-4186-AD3F-0586B748E92C}"/>
                </a:ext>
              </a:extLst>
            </p:cNvPr>
            <p:cNvSpPr/>
            <p:nvPr/>
          </p:nvSpPr>
          <p:spPr>
            <a:xfrm>
              <a:off x="10989745" y="2717273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443CACCB-39E2-4EA8-AC99-9401646FDCB0}"/>
                </a:ext>
              </a:extLst>
            </p:cNvPr>
            <p:cNvSpPr/>
            <p:nvPr/>
          </p:nvSpPr>
          <p:spPr>
            <a:xfrm>
              <a:off x="10649369" y="3427232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0 w 337200"/>
                <a:gd name="connsiteY1" fmla="*/ 466108 h 466108"/>
                <a:gd name="connsiteX2" fmla="*/ 0 w 337200"/>
                <a:gd name="connsiteY2" fmla="*/ 231784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26C8C4B9-7425-4479-B651-308F9DD66200}"/>
                </a:ext>
              </a:extLst>
            </p:cNvPr>
            <p:cNvSpPr/>
            <p:nvPr/>
          </p:nvSpPr>
          <p:spPr>
            <a:xfrm>
              <a:off x="6225117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9B744EA5-A0DD-48CB-BD03-E3283B6C1FAB}"/>
                </a:ext>
              </a:extLst>
            </p:cNvPr>
            <p:cNvSpPr/>
            <p:nvPr/>
          </p:nvSpPr>
          <p:spPr>
            <a:xfrm>
              <a:off x="6905869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EC0FB516-189B-4E42-9CDF-C87020608F8C}"/>
                </a:ext>
              </a:extLst>
            </p:cNvPr>
            <p:cNvSpPr/>
            <p:nvPr/>
          </p:nvSpPr>
          <p:spPr>
            <a:xfrm>
              <a:off x="7586621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3CAD79AE-A908-419C-B3E9-6F3003319534}"/>
                </a:ext>
              </a:extLst>
            </p:cNvPr>
            <p:cNvSpPr/>
            <p:nvPr/>
          </p:nvSpPr>
          <p:spPr>
            <a:xfrm>
              <a:off x="8267372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F7334151-2D90-4AD6-93A6-5C9B540CE6A9}"/>
                </a:ext>
              </a:extLst>
            </p:cNvPr>
            <p:cNvSpPr/>
            <p:nvPr/>
          </p:nvSpPr>
          <p:spPr>
            <a:xfrm>
              <a:off x="8948124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9CD0CF71-D7D8-4F66-B05F-5534BA861FE8}"/>
                </a:ext>
              </a:extLst>
            </p:cNvPr>
            <p:cNvSpPr/>
            <p:nvPr/>
          </p:nvSpPr>
          <p:spPr>
            <a:xfrm>
              <a:off x="9628876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01CDDE50-8826-418D-BE3C-CE7FC5CF963E}"/>
                </a:ext>
              </a:extLst>
            </p:cNvPr>
            <p:cNvSpPr/>
            <p:nvPr/>
          </p:nvSpPr>
          <p:spPr>
            <a:xfrm>
              <a:off x="10308993" y="1771720"/>
              <a:ext cx="337201" cy="702338"/>
            </a:xfrm>
            <a:custGeom>
              <a:avLst/>
              <a:gdLst>
                <a:gd name="connsiteX0" fmla="*/ 168283 w 337201"/>
                <a:gd name="connsiteY0" fmla="*/ 116210 h 702338"/>
                <a:gd name="connsiteX1" fmla="*/ 168283 w 337201"/>
                <a:gd name="connsiteY1" fmla="*/ 351169 h 702338"/>
                <a:gd name="connsiteX2" fmla="*/ 337201 w 337201"/>
                <a:gd name="connsiteY2" fmla="*/ 468649 h 702338"/>
                <a:gd name="connsiteX3" fmla="*/ 337201 w 337201"/>
                <a:gd name="connsiteY3" fmla="*/ 702338 h 702338"/>
                <a:gd name="connsiteX4" fmla="*/ 0 w 337201"/>
                <a:gd name="connsiteY4" fmla="*/ 468014 h 702338"/>
                <a:gd name="connsiteX5" fmla="*/ 0 w 337201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1" h="702338">
                  <a:moveTo>
                    <a:pt x="168283" y="116210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CFC56595-95A9-4044-BEB7-338F22D1B63E}"/>
                </a:ext>
              </a:extLst>
            </p:cNvPr>
            <p:cNvSpPr/>
            <p:nvPr/>
          </p:nvSpPr>
          <p:spPr>
            <a:xfrm>
              <a:off x="5884741" y="2007950"/>
              <a:ext cx="164472" cy="227974"/>
            </a:xfrm>
            <a:custGeom>
              <a:avLst/>
              <a:gdLst>
                <a:gd name="connsiteX0" fmla="*/ 164473 w 164472"/>
                <a:gd name="connsiteY0" fmla="*/ 114305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C330D5F3-E30E-4C16-A64E-11AF52E979BD}"/>
                </a:ext>
              </a:extLst>
            </p:cNvPr>
            <p:cNvSpPr/>
            <p:nvPr/>
          </p:nvSpPr>
          <p:spPr>
            <a:xfrm>
              <a:off x="5886011" y="2242909"/>
              <a:ext cx="674401" cy="351804"/>
            </a:xfrm>
            <a:custGeom>
              <a:avLst/>
              <a:gdLst>
                <a:gd name="connsiteX0" fmla="*/ 337201 w 674401"/>
                <a:gd name="connsiteY0" fmla="*/ 0 h 351804"/>
                <a:gd name="connsiteX1" fmla="*/ 674402 w 674401"/>
                <a:gd name="connsiteY1" fmla="*/ 234324 h 351804"/>
                <a:gd name="connsiteX2" fmla="*/ 506754 w 674401"/>
                <a:gd name="connsiteY2" fmla="*/ 351169 h 351804"/>
                <a:gd name="connsiteX3" fmla="*/ 338471 w 674401"/>
                <a:gd name="connsiteY3" fmla="*/ 234959 h 351804"/>
                <a:gd name="connsiteX4" fmla="*/ 337201 w 674401"/>
                <a:gd name="connsiteY4" fmla="*/ 234324 h 351804"/>
                <a:gd name="connsiteX5" fmla="*/ 168283 w 674401"/>
                <a:gd name="connsiteY5" fmla="*/ 351804 h 351804"/>
                <a:gd name="connsiteX6" fmla="*/ 0 w 674401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8471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782BD340-55C8-47D4-92B8-8B2B97FC65F7}"/>
                </a:ext>
              </a:extLst>
            </p:cNvPr>
            <p:cNvSpPr/>
            <p:nvPr/>
          </p:nvSpPr>
          <p:spPr>
            <a:xfrm>
              <a:off x="6565493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305DA62D-3E8B-4444-9940-A06926FDB9CF}"/>
                </a:ext>
              </a:extLst>
            </p:cNvPr>
            <p:cNvSpPr/>
            <p:nvPr/>
          </p:nvSpPr>
          <p:spPr>
            <a:xfrm>
              <a:off x="6566763" y="2242909"/>
              <a:ext cx="674401" cy="351804"/>
            </a:xfrm>
            <a:custGeom>
              <a:avLst/>
              <a:gdLst>
                <a:gd name="connsiteX0" fmla="*/ 337201 w 674401"/>
                <a:gd name="connsiteY0" fmla="*/ 0 h 351804"/>
                <a:gd name="connsiteX1" fmla="*/ 674402 w 674401"/>
                <a:gd name="connsiteY1" fmla="*/ 234324 h 351804"/>
                <a:gd name="connsiteX2" fmla="*/ 506754 w 674401"/>
                <a:gd name="connsiteY2" fmla="*/ 351169 h 351804"/>
                <a:gd name="connsiteX3" fmla="*/ 338471 w 674401"/>
                <a:gd name="connsiteY3" fmla="*/ 234959 h 351804"/>
                <a:gd name="connsiteX4" fmla="*/ 337201 w 674401"/>
                <a:gd name="connsiteY4" fmla="*/ 234324 h 351804"/>
                <a:gd name="connsiteX5" fmla="*/ 168283 w 674401"/>
                <a:gd name="connsiteY5" fmla="*/ 351804 h 351804"/>
                <a:gd name="connsiteX6" fmla="*/ 0 w 674401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8471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4C31DF2A-3F35-4928-AE6F-FD139173A0FB}"/>
                </a:ext>
              </a:extLst>
            </p:cNvPr>
            <p:cNvSpPr/>
            <p:nvPr/>
          </p:nvSpPr>
          <p:spPr>
            <a:xfrm>
              <a:off x="7246245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033AB131-8015-4D37-8013-5F2C1AF3203E}"/>
                </a:ext>
              </a:extLst>
            </p:cNvPr>
            <p:cNvSpPr/>
            <p:nvPr/>
          </p:nvSpPr>
          <p:spPr>
            <a:xfrm>
              <a:off x="7247515" y="2242909"/>
              <a:ext cx="674401" cy="351804"/>
            </a:xfrm>
            <a:custGeom>
              <a:avLst/>
              <a:gdLst>
                <a:gd name="connsiteX0" fmla="*/ 337201 w 674401"/>
                <a:gd name="connsiteY0" fmla="*/ 0 h 351804"/>
                <a:gd name="connsiteX1" fmla="*/ 674402 w 674401"/>
                <a:gd name="connsiteY1" fmla="*/ 234324 h 351804"/>
                <a:gd name="connsiteX2" fmla="*/ 506754 w 674401"/>
                <a:gd name="connsiteY2" fmla="*/ 351169 h 351804"/>
                <a:gd name="connsiteX3" fmla="*/ 337836 w 674401"/>
                <a:gd name="connsiteY3" fmla="*/ 234959 h 351804"/>
                <a:gd name="connsiteX4" fmla="*/ 337201 w 674401"/>
                <a:gd name="connsiteY4" fmla="*/ 234324 h 351804"/>
                <a:gd name="connsiteX5" fmla="*/ 168283 w 674401"/>
                <a:gd name="connsiteY5" fmla="*/ 351804 h 351804"/>
                <a:gd name="connsiteX6" fmla="*/ 0 w 674401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299B9582-93C4-45E7-A59E-31617D1D3020}"/>
                </a:ext>
              </a:extLst>
            </p:cNvPr>
            <p:cNvSpPr/>
            <p:nvPr/>
          </p:nvSpPr>
          <p:spPr>
            <a:xfrm>
              <a:off x="7926997" y="2007950"/>
              <a:ext cx="163837" cy="227974"/>
            </a:xfrm>
            <a:custGeom>
              <a:avLst/>
              <a:gdLst>
                <a:gd name="connsiteX0" fmla="*/ 163838 w 163837"/>
                <a:gd name="connsiteY0" fmla="*/ 114305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DD141CE6-D000-4C34-AAED-AC6ADC543E23}"/>
                </a:ext>
              </a:extLst>
            </p:cNvPr>
            <p:cNvSpPr/>
            <p:nvPr/>
          </p:nvSpPr>
          <p:spPr>
            <a:xfrm>
              <a:off x="7928267" y="2242909"/>
              <a:ext cx="674401" cy="351804"/>
            </a:xfrm>
            <a:custGeom>
              <a:avLst/>
              <a:gdLst>
                <a:gd name="connsiteX0" fmla="*/ 337201 w 674401"/>
                <a:gd name="connsiteY0" fmla="*/ 0 h 351804"/>
                <a:gd name="connsiteX1" fmla="*/ 674401 w 674401"/>
                <a:gd name="connsiteY1" fmla="*/ 234324 h 351804"/>
                <a:gd name="connsiteX2" fmla="*/ 506754 w 674401"/>
                <a:gd name="connsiteY2" fmla="*/ 351169 h 351804"/>
                <a:gd name="connsiteX3" fmla="*/ 337836 w 674401"/>
                <a:gd name="connsiteY3" fmla="*/ 234959 h 351804"/>
                <a:gd name="connsiteX4" fmla="*/ 337201 w 674401"/>
                <a:gd name="connsiteY4" fmla="*/ 234324 h 351804"/>
                <a:gd name="connsiteX5" fmla="*/ 168283 w 674401"/>
                <a:gd name="connsiteY5" fmla="*/ 351804 h 351804"/>
                <a:gd name="connsiteX6" fmla="*/ 0 w 674401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7201" y="0"/>
                  </a:moveTo>
                  <a:lnTo>
                    <a:pt x="674401" y="234324"/>
                  </a:lnTo>
                  <a:lnTo>
                    <a:pt x="506754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13B89D51-61C9-47E3-9D41-42A55AC37292}"/>
                </a:ext>
              </a:extLst>
            </p:cNvPr>
            <p:cNvSpPr/>
            <p:nvPr/>
          </p:nvSpPr>
          <p:spPr>
            <a:xfrm>
              <a:off x="8607749" y="2007950"/>
              <a:ext cx="163837" cy="227974"/>
            </a:xfrm>
            <a:custGeom>
              <a:avLst/>
              <a:gdLst>
                <a:gd name="connsiteX0" fmla="*/ 163838 w 163837"/>
                <a:gd name="connsiteY0" fmla="*/ 114305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325920DF-F3A8-4F16-905C-3122D1E2B44D}"/>
                </a:ext>
              </a:extLst>
            </p:cNvPr>
            <p:cNvSpPr/>
            <p:nvPr/>
          </p:nvSpPr>
          <p:spPr>
            <a:xfrm>
              <a:off x="8609018" y="2242909"/>
              <a:ext cx="673766" cy="351804"/>
            </a:xfrm>
            <a:custGeom>
              <a:avLst/>
              <a:gdLst>
                <a:gd name="connsiteX0" fmla="*/ 337201 w 673766"/>
                <a:gd name="connsiteY0" fmla="*/ 0 h 351804"/>
                <a:gd name="connsiteX1" fmla="*/ 673767 w 673766"/>
                <a:gd name="connsiteY1" fmla="*/ 234324 h 351804"/>
                <a:gd name="connsiteX2" fmla="*/ 506119 w 673766"/>
                <a:gd name="connsiteY2" fmla="*/ 351169 h 351804"/>
                <a:gd name="connsiteX3" fmla="*/ 337836 w 673766"/>
                <a:gd name="connsiteY3" fmla="*/ 234959 h 351804"/>
                <a:gd name="connsiteX4" fmla="*/ 337201 w 673766"/>
                <a:gd name="connsiteY4" fmla="*/ 234324 h 351804"/>
                <a:gd name="connsiteX5" fmla="*/ 168283 w 673766"/>
                <a:gd name="connsiteY5" fmla="*/ 351804 h 351804"/>
                <a:gd name="connsiteX6" fmla="*/ 0 w 673766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804">
                  <a:moveTo>
                    <a:pt x="337201" y="0"/>
                  </a:moveTo>
                  <a:lnTo>
                    <a:pt x="673767" y="234324"/>
                  </a:lnTo>
                  <a:lnTo>
                    <a:pt x="506119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1F934023-089F-4239-B5D8-F8BEAD47DB37}"/>
                </a:ext>
              </a:extLst>
            </p:cNvPr>
            <p:cNvSpPr/>
            <p:nvPr/>
          </p:nvSpPr>
          <p:spPr>
            <a:xfrm>
              <a:off x="9288500" y="2007950"/>
              <a:ext cx="163837" cy="227339"/>
            </a:xfrm>
            <a:custGeom>
              <a:avLst/>
              <a:gdLst>
                <a:gd name="connsiteX0" fmla="*/ 0 w 163837"/>
                <a:gd name="connsiteY0" fmla="*/ 0 h 227339"/>
                <a:gd name="connsiteX1" fmla="*/ 163838 w 163837"/>
                <a:gd name="connsiteY1" fmla="*/ 114305 h 227339"/>
                <a:gd name="connsiteX2" fmla="*/ 0 w 163837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339">
                  <a:moveTo>
                    <a:pt x="0" y="0"/>
                  </a:moveTo>
                  <a:lnTo>
                    <a:pt x="163838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D759BE44-28FC-41D3-8C50-F468A5FFB64D}"/>
                </a:ext>
              </a:extLst>
            </p:cNvPr>
            <p:cNvSpPr/>
            <p:nvPr/>
          </p:nvSpPr>
          <p:spPr>
            <a:xfrm>
              <a:off x="9289770" y="2242909"/>
              <a:ext cx="673766" cy="351804"/>
            </a:xfrm>
            <a:custGeom>
              <a:avLst/>
              <a:gdLst>
                <a:gd name="connsiteX0" fmla="*/ 337201 w 673766"/>
                <a:gd name="connsiteY0" fmla="*/ 0 h 351804"/>
                <a:gd name="connsiteX1" fmla="*/ 673767 w 673766"/>
                <a:gd name="connsiteY1" fmla="*/ 234324 h 351804"/>
                <a:gd name="connsiteX2" fmla="*/ 506119 w 673766"/>
                <a:gd name="connsiteY2" fmla="*/ 351169 h 351804"/>
                <a:gd name="connsiteX3" fmla="*/ 337836 w 673766"/>
                <a:gd name="connsiteY3" fmla="*/ 234959 h 351804"/>
                <a:gd name="connsiteX4" fmla="*/ 337201 w 673766"/>
                <a:gd name="connsiteY4" fmla="*/ 234324 h 351804"/>
                <a:gd name="connsiteX5" fmla="*/ 168283 w 673766"/>
                <a:gd name="connsiteY5" fmla="*/ 351804 h 351804"/>
                <a:gd name="connsiteX6" fmla="*/ 0 w 673766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804">
                  <a:moveTo>
                    <a:pt x="337201" y="0"/>
                  </a:moveTo>
                  <a:lnTo>
                    <a:pt x="673767" y="234324"/>
                  </a:lnTo>
                  <a:lnTo>
                    <a:pt x="506119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8BDA129B-34BF-4C48-A1FB-FE16A8646049}"/>
                </a:ext>
              </a:extLst>
            </p:cNvPr>
            <p:cNvSpPr/>
            <p:nvPr/>
          </p:nvSpPr>
          <p:spPr>
            <a:xfrm>
              <a:off x="9968617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B2510271-CBAA-4CC6-BC87-13A4440156B9}"/>
                </a:ext>
              </a:extLst>
            </p:cNvPr>
            <p:cNvSpPr/>
            <p:nvPr/>
          </p:nvSpPr>
          <p:spPr>
            <a:xfrm>
              <a:off x="9970522" y="2242909"/>
              <a:ext cx="673766" cy="351804"/>
            </a:xfrm>
            <a:custGeom>
              <a:avLst/>
              <a:gdLst>
                <a:gd name="connsiteX0" fmla="*/ 336566 w 673766"/>
                <a:gd name="connsiteY0" fmla="*/ 0 h 351804"/>
                <a:gd name="connsiteX1" fmla="*/ 673766 w 673766"/>
                <a:gd name="connsiteY1" fmla="*/ 234324 h 351804"/>
                <a:gd name="connsiteX2" fmla="*/ 506119 w 673766"/>
                <a:gd name="connsiteY2" fmla="*/ 351169 h 351804"/>
                <a:gd name="connsiteX3" fmla="*/ 337836 w 673766"/>
                <a:gd name="connsiteY3" fmla="*/ 234959 h 351804"/>
                <a:gd name="connsiteX4" fmla="*/ 336566 w 673766"/>
                <a:gd name="connsiteY4" fmla="*/ 234324 h 351804"/>
                <a:gd name="connsiteX5" fmla="*/ 168283 w 673766"/>
                <a:gd name="connsiteY5" fmla="*/ 351804 h 351804"/>
                <a:gd name="connsiteX6" fmla="*/ 0 w 673766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804">
                  <a:moveTo>
                    <a:pt x="336566" y="0"/>
                  </a:moveTo>
                  <a:lnTo>
                    <a:pt x="673766" y="234324"/>
                  </a:lnTo>
                  <a:lnTo>
                    <a:pt x="506119" y="351169"/>
                  </a:lnTo>
                  <a:lnTo>
                    <a:pt x="337836" y="234959"/>
                  </a:lnTo>
                  <a:lnTo>
                    <a:pt x="336566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32248F2F-4F58-4B95-9DB5-83046F1408B8}"/>
                </a:ext>
              </a:extLst>
            </p:cNvPr>
            <p:cNvSpPr/>
            <p:nvPr/>
          </p:nvSpPr>
          <p:spPr>
            <a:xfrm>
              <a:off x="10308993" y="2717273"/>
              <a:ext cx="337201" cy="466108"/>
            </a:xfrm>
            <a:custGeom>
              <a:avLst/>
              <a:gdLst>
                <a:gd name="connsiteX0" fmla="*/ 337201 w 337201"/>
                <a:gd name="connsiteY0" fmla="*/ 232419 h 466108"/>
                <a:gd name="connsiteX1" fmla="*/ 0 w 337201"/>
                <a:gd name="connsiteY1" fmla="*/ 466109 h 466108"/>
                <a:gd name="connsiteX2" fmla="*/ 0 w 337201"/>
                <a:gd name="connsiteY2" fmla="*/ 232419 h 466108"/>
                <a:gd name="connsiteX3" fmla="*/ 337201 w 337201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1" h="466108">
                  <a:moveTo>
                    <a:pt x="337201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DC50E18B-F19A-4CFF-AC12-071B40EAAC93}"/>
                </a:ext>
              </a:extLst>
            </p:cNvPr>
            <p:cNvSpPr/>
            <p:nvPr/>
          </p:nvSpPr>
          <p:spPr>
            <a:xfrm>
              <a:off x="5884741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3CE00540-4227-41C0-AD1F-68B5936D35EB}"/>
                </a:ext>
              </a:extLst>
            </p:cNvPr>
            <p:cNvSpPr/>
            <p:nvPr/>
          </p:nvSpPr>
          <p:spPr>
            <a:xfrm>
              <a:off x="6565493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55EFD218-9869-495E-AD61-860397277F65}"/>
                </a:ext>
              </a:extLst>
            </p:cNvPr>
            <p:cNvSpPr/>
            <p:nvPr/>
          </p:nvSpPr>
          <p:spPr>
            <a:xfrm>
              <a:off x="7246245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86D3FFB9-CD19-4B38-8C4D-FE7250BA4220}"/>
                </a:ext>
              </a:extLst>
            </p:cNvPr>
            <p:cNvSpPr/>
            <p:nvPr/>
          </p:nvSpPr>
          <p:spPr>
            <a:xfrm>
              <a:off x="7926997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DCB12E43-EDEE-42E1-8DCB-2780B2BE36CD}"/>
                </a:ext>
              </a:extLst>
            </p:cNvPr>
            <p:cNvSpPr/>
            <p:nvPr/>
          </p:nvSpPr>
          <p:spPr>
            <a:xfrm>
              <a:off x="8607749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ED96145D-F364-4FA7-9A14-D1ABAE38FB39}"/>
                </a:ext>
              </a:extLst>
            </p:cNvPr>
            <p:cNvSpPr/>
            <p:nvPr/>
          </p:nvSpPr>
          <p:spPr>
            <a:xfrm>
              <a:off x="9288500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7AE77DD9-96FE-4C7A-A814-29E2013D8011}"/>
                </a:ext>
              </a:extLst>
            </p:cNvPr>
            <p:cNvSpPr/>
            <p:nvPr/>
          </p:nvSpPr>
          <p:spPr>
            <a:xfrm>
              <a:off x="9968617" y="2481044"/>
              <a:ext cx="337200" cy="702337"/>
            </a:xfrm>
            <a:custGeom>
              <a:avLst/>
              <a:gdLst>
                <a:gd name="connsiteX0" fmla="*/ 168283 w 337200"/>
                <a:gd name="connsiteY0" fmla="*/ 116845 h 702337"/>
                <a:gd name="connsiteX1" fmla="*/ 168283 w 337200"/>
                <a:gd name="connsiteY1" fmla="*/ 351169 h 702337"/>
                <a:gd name="connsiteX2" fmla="*/ 337201 w 337200"/>
                <a:gd name="connsiteY2" fmla="*/ 468649 h 702337"/>
                <a:gd name="connsiteX3" fmla="*/ 337201 w 337200"/>
                <a:gd name="connsiteY3" fmla="*/ 702338 h 702337"/>
                <a:gd name="connsiteX4" fmla="*/ 0 w 337200"/>
                <a:gd name="connsiteY4" fmla="*/ 468649 h 702337"/>
                <a:gd name="connsiteX5" fmla="*/ 0 w 337200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7">
                  <a:moveTo>
                    <a:pt x="168283" y="116845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53E11C83-5B65-40E3-B352-E004406309AC}"/>
                </a:ext>
              </a:extLst>
            </p:cNvPr>
            <p:cNvSpPr/>
            <p:nvPr/>
          </p:nvSpPr>
          <p:spPr>
            <a:xfrm>
              <a:off x="10308993" y="2717273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6E1DBF3-84FA-402E-9E19-09A3560CCCFB}"/>
                </a:ext>
              </a:extLst>
            </p:cNvPr>
            <p:cNvSpPr/>
            <p:nvPr/>
          </p:nvSpPr>
          <p:spPr>
            <a:xfrm>
              <a:off x="9968617" y="3427232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635 w 337200"/>
                <a:gd name="connsiteY1" fmla="*/ 466108 h 466108"/>
                <a:gd name="connsiteX2" fmla="*/ 0 w 337200"/>
                <a:gd name="connsiteY2" fmla="*/ 231784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635" y="466108"/>
                  </a:lnTo>
                  <a:lnTo>
                    <a:pt x="0" y="231784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7CA5F8E1-F2CF-45CF-B32F-378A09914289}"/>
                </a:ext>
              </a:extLst>
            </p:cNvPr>
            <p:cNvSpPr/>
            <p:nvPr/>
          </p:nvSpPr>
          <p:spPr>
            <a:xfrm>
              <a:off x="6225117" y="2717273"/>
              <a:ext cx="164472" cy="227974"/>
            </a:xfrm>
            <a:custGeom>
              <a:avLst/>
              <a:gdLst>
                <a:gd name="connsiteX0" fmla="*/ 164473 w 164472"/>
                <a:gd name="connsiteY0" fmla="*/ 114940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C827B525-BAAD-415A-844C-438FA2C616B6}"/>
                </a:ext>
              </a:extLst>
            </p:cNvPr>
            <p:cNvSpPr/>
            <p:nvPr/>
          </p:nvSpPr>
          <p:spPr>
            <a:xfrm>
              <a:off x="6226387" y="2952868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8471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8471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B9182623-8EE2-4FAB-A33F-DE36638F85B4}"/>
                </a:ext>
              </a:extLst>
            </p:cNvPr>
            <p:cNvSpPr/>
            <p:nvPr/>
          </p:nvSpPr>
          <p:spPr>
            <a:xfrm>
              <a:off x="6905869" y="2717273"/>
              <a:ext cx="164472" cy="227974"/>
            </a:xfrm>
            <a:custGeom>
              <a:avLst/>
              <a:gdLst>
                <a:gd name="connsiteX0" fmla="*/ 164473 w 164472"/>
                <a:gd name="connsiteY0" fmla="*/ 114940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C14EA703-DDD1-445F-8CD5-0F5E5B8416BA}"/>
                </a:ext>
              </a:extLst>
            </p:cNvPr>
            <p:cNvSpPr/>
            <p:nvPr/>
          </p:nvSpPr>
          <p:spPr>
            <a:xfrm>
              <a:off x="6907139" y="2952868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1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1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656AF480-FF2E-4FAD-9EC4-B0AA3D7F9571}"/>
                </a:ext>
              </a:extLst>
            </p:cNvPr>
            <p:cNvSpPr/>
            <p:nvPr/>
          </p:nvSpPr>
          <p:spPr>
            <a:xfrm>
              <a:off x="7586621" y="2717273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C4D952BF-2AA5-49E2-8574-91E84C6D103B}"/>
                </a:ext>
              </a:extLst>
            </p:cNvPr>
            <p:cNvSpPr/>
            <p:nvPr/>
          </p:nvSpPr>
          <p:spPr>
            <a:xfrm>
              <a:off x="7587891" y="2952868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9CF4C8FC-76FE-4349-911B-472FD131DFFB}"/>
                </a:ext>
              </a:extLst>
            </p:cNvPr>
            <p:cNvSpPr/>
            <p:nvPr/>
          </p:nvSpPr>
          <p:spPr>
            <a:xfrm>
              <a:off x="8267372" y="2717273"/>
              <a:ext cx="163837" cy="227974"/>
            </a:xfrm>
            <a:custGeom>
              <a:avLst/>
              <a:gdLst>
                <a:gd name="connsiteX0" fmla="*/ 0 w 163837"/>
                <a:gd name="connsiteY0" fmla="*/ 0 h 227974"/>
                <a:gd name="connsiteX1" fmla="*/ 163838 w 163837"/>
                <a:gd name="connsiteY1" fmla="*/ 114940 h 227974"/>
                <a:gd name="connsiteX2" fmla="*/ 0 w 163837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0" y="0"/>
                  </a:moveTo>
                  <a:lnTo>
                    <a:pt x="163838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15852022-E13D-461C-B03B-B9785E4224BE}"/>
                </a:ext>
              </a:extLst>
            </p:cNvPr>
            <p:cNvSpPr/>
            <p:nvPr/>
          </p:nvSpPr>
          <p:spPr>
            <a:xfrm>
              <a:off x="8268643" y="2952868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9DCB2652-C20B-4A50-9717-F307D4448256}"/>
                </a:ext>
              </a:extLst>
            </p:cNvPr>
            <p:cNvSpPr/>
            <p:nvPr/>
          </p:nvSpPr>
          <p:spPr>
            <a:xfrm>
              <a:off x="8948124" y="2717273"/>
              <a:ext cx="163837" cy="227974"/>
            </a:xfrm>
            <a:custGeom>
              <a:avLst/>
              <a:gdLst>
                <a:gd name="connsiteX0" fmla="*/ 163838 w 163837"/>
                <a:gd name="connsiteY0" fmla="*/ 114940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20DDCA67-7550-4725-96AE-AAC68D69ECCE}"/>
                </a:ext>
              </a:extLst>
            </p:cNvPr>
            <p:cNvSpPr/>
            <p:nvPr/>
          </p:nvSpPr>
          <p:spPr>
            <a:xfrm>
              <a:off x="8949395" y="2952868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6 w 673766"/>
                <a:gd name="connsiteY1" fmla="*/ 234324 h 351168"/>
                <a:gd name="connsiteX2" fmla="*/ 506119 w 673766"/>
                <a:gd name="connsiteY2" fmla="*/ 350534 h 351168"/>
                <a:gd name="connsiteX3" fmla="*/ 337836 w 673766"/>
                <a:gd name="connsiteY3" fmla="*/ 234324 h 351168"/>
                <a:gd name="connsiteX4" fmla="*/ 337201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6" y="234324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9C4A2BD7-A29F-43FD-A0D0-EA3CFF8A676D}"/>
                </a:ext>
              </a:extLst>
            </p:cNvPr>
            <p:cNvSpPr/>
            <p:nvPr/>
          </p:nvSpPr>
          <p:spPr>
            <a:xfrm>
              <a:off x="9628876" y="2717273"/>
              <a:ext cx="163837" cy="227974"/>
            </a:xfrm>
            <a:custGeom>
              <a:avLst/>
              <a:gdLst>
                <a:gd name="connsiteX0" fmla="*/ 163838 w 163837"/>
                <a:gd name="connsiteY0" fmla="*/ 114940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C9B631A0-07CE-4731-BF18-13663077CBAC}"/>
                </a:ext>
              </a:extLst>
            </p:cNvPr>
            <p:cNvSpPr/>
            <p:nvPr/>
          </p:nvSpPr>
          <p:spPr>
            <a:xfrm>
              <a:off x="9630146" y="2952868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6 w 673766"/>
                <a:gd name="connsiteY1" fmla="*/ 234324 h 351168"/>
                <a:gd name="connsiteX2" fmla="*/ 506118 w 673766"/>
                <a:gd name="connsiteY2" fmla="*/ 350534 h 351168"/>
                <a:gd name="connsiteX3" fmla="*/ 337836 w 673766"/>
                <a:gd name="connsiteY3" fmla="*/ 234324 h 351168"/>
                <a:gd name="connsiteX4" fmla="*/ 337201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6" y="234324"/>
                  </a:lnTo>
                  <a:lnTo>
                    <a:pt x="506118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5E9EF1EC-6FED-481E-AD90-49EB598CE6B4}"/>
                </a:ext>
              </a:extLst>
            </p:cNvPr>
            <p:cNvSpPr/>
            <p:nvPr/>
          </p:nvSpPr>
          <p:spPr>
            <a:xfrm>
              <a:off x="6225117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33C0CB7A-776D-4270-81F1-A6DF4E36A0B5}"/>
                </a:ext>
              </a:extLst>
            </p:cNvPr>
            <p:cNvSpPr/>
            <p:nvPr/>
          </p:nvSpPr>
          <p:spPr>
            <a:xfrm>
              <a:off x="6905869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9A92C8F4-3F89-410B-95DE-14889E61C6BE}"/>
                </a:ext>
              </a:extLst>
            </p:cNvPr>
            <p:cNvSpPr/>
            <p:nvPr/>
          </p:nvSpPr>
          <p:spPr>
            <a:xfrm>
              <a:off x="7586621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B818EB59-386E-4B12-9DB5-67BBFF1F8319}"/>
                </a:ext>
              </a:extLst>
            </p:cNvPr>
            <p:cNvSpPr/>
            <p:nvPr/>
          </p:nvSpPr>
          <p:spPr>
            <a:xfrm>
              <a:off x="8267372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315AB366-349E-4A15-980A-C66B3E374AE5}"/>
                </a:ext>
              </a:extLst>
            </p:cNvPr>
            <p:cNvSpPr/>
            <p:nvPr/>
          </p:nvSpPr>
          <p:spPr>
            <a:xfrm>
              <a:off x="8948124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2E4FEECF-D566-4EF9-9F40-7441FCF227E7}"/>
                </a:ext>
              </a:extLst>
            </p:cNvPr>
            <p:cNvSpPr/>
            <p:nvPr/>
          </p:nvSpPr>
          <p:spPr>
            <a:xfrm>
              <a:off x="5884741" y="3427232"/>
              <a:ext cx="164472" cy="227339"/>
            </a:xfrm>
            <a:custGeom>
              <a:avLst/>
              <a:gdLst>
                <a:gd name="connsiteX0" fmla="*/ 164473 w 164472"/>
                <a:gd name="connsiteY0" fmla="*/ 114305 h 227339"/>
                <a:gd name="connsiteX1" fmla="*/ 0 w 164472"/>
                <a:gd name="connsiteY1" fmla="*/ 227339 h 227339"/>
                <a:gd name="connsiteX2" fmla="*/ 0 w 164472"/>
                <a:gd name="connsiteY2" fmla="*/ 0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164473" y="114305"/>
                  </a:moveTo>
                  <a:lnTo>
                    <a:pt x="0" y="22733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1D5CB6F7-A3EA-4CEE-B3D7-FB78F807AD60}"/>
                </a:ext>
              </a:extLst>
            </p:cNvPr>
            <p:cNvSpPr/>
            <p:nvPr/>
          </p:nvSpPr>
          <p:spPr>
            <a:xfrm>
              <a:off x="5886011" y="3662191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1169 h 351168"/>
                <a:gd name="connsiteX3" fmla="*/ 338471 w 674401"/>
                <a:gd name="connsiteY3" fmla="*/ 234959 h 351168"/>
                <a:gd name="connsiteX4" fmla="*/ 337201 w 674401"/>
                <a:gd name="connsiteY4" fmla="*/ 234324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8471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A939BB36-07EC-4783-A4E8-AE8255F5B50D}"/>
                </a:ext>
              </a:extLst>
            </p:cNvPr>
            <p:cNvSpPr/>
            <p:nvPr/>
          </p:nvSpPr>
          <p:spPr>
            <a:xfrm>
              <a:off x="6565493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D62041A5-7F3C-4724-8B71-ADC54CF542C9}"/>
                </a:ext>
              </a:extLst>
            </p:cNvPr>
            <p:cNvSpPr/>
            <p:nvPr/>
          </p:nvSpPr>
          <p:spPr>
            <a:xfrm>
              <a:off x="6566763" y="3662191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1169 h 351168"/>
                <a:gd name="connsiteX3" fmla="*/ 338471 w 674401"/>
                <a:gd name="connsiteY3" fmla="*/ 234959 h 351168"/>
                <a:gd name="connsiteX4" fmla="*/ 337201 w 674401"/>
                <a:gd name="connsiteY4" fmla="*/ 234324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8471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22174C58-9A55-4DFF-A8DD-EF28CD3172A7}"/>
                </a:ext>
              </a:extLst>
            </p:cNvPr>
            <p:cNvSpPr/>
            <p:nvPr/>
          </p:nvSpPr>
          <p:spPr>
            <a:xfrm>
              <a:off x="7246245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CF433F85-2DC9-40D4-BC50-64D8C503C675}"/>
                </a:ext>
              </a:extLst>
            </p:cNvPr>
            <p:cNvSpPr/>
            <p:nvPr/>
          </p:nvSpPr>
          <p:spPr>
            <a:xfrm>
              <a:off x="7247515" y="3662191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1169 h 351168"/>
                <a:gd name="connsiteX3" fmla="*/ 337836 w 674401"/>
                <a:gd name="connsiteY3" fmla="*/ 234959 h 351168"/>
                <a:gd name="connsiteX4" fmla="*/ 337201 w 674401"/>
                <a:gd name="connsiteY4" fmla="*/ 234324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A6F42F1D-BE28-4EF4-A16B-D397405FB47D}"/>
                </a:ext>
              </a:extLst>
            </p:cNvPr>
            <p:cNvSpPr/>
            <p:nvPr/>
          </p:nvSpPr>
          <p:spPr>
            <a:xfrm>
              <a:off x="7926997" y="3427232"/>
              <a:ext cx="163837" cy="227339"/>
            </a:xfrm>
            <a:custGeom>
              <a:avLst/>
              <a:gdLst>
                <a:gd name="connsiteX0" fmla="*/ 163838 w 163837"/>
                <a:gd name="connsiteY0" fmla="*/ 114305 h 227339"/>
                <a:gd name="connsiteX1" fmla="*/ 0 w 163837"/>
                <a:gd name="connsiteY1" fmla="*/ 227339 h 227339"/>
                <a:gd name="connsiteX2" fmla="*/ 0 w 163837"/>
                <a:gd name="connsiteY2" fmla="*/ 0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339">
                  <a:moveTo>
                    <a:pt x="163838" y="114305"/>
                  </a:moveTo>
                  <a:lnTo>
                    <a:pt x="0" y="22733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B9BC24A7-2176-443A-9319-C3011B41334B}"/>
                </a:ext>
              </a:extLst>
            </p:cNvPr>
            <p:cNvSpPr/>
            <p:nvPr/>
          </p:nvSpPr>
          <p:spPr>
            <a:xfrm>
              <a:off x="7928267" y="3662191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1 w 674401"/>
                <a:gd name="connsiteY1" fmla="*/ 234324 h 351168"/>
                <a:gd name="connsiteX2" fmla="*/ 506754 w 674401"/>
                <a:gd name="connsiteY2" fmla="*/ 351169 h 351168"/>
                <a:gd name="connsiteX3" fmla="*/ 337836 w 674401"/>
                <a:gd name="connsiteY3" fmla="*/ 234959 h 351168"/>
                <a:gd name="connsiteX4" fmla="*/ 337201 w 674401"/>
                <a:gd name="connsiteY4" fmla="*/ 234324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1" y="234324"/>
                  </a:lnTo>
                  <a:lnTo>
                    <a:pt x="506754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1105A2E3-EEB4-4481-A906-DF128DBB8556}"/>
                </a:ext>
              </a:extLst>
            </p:cNvPr>
            <p:cNvSpPr/>
            <p:nvPr/>
          </p:nvSpPr>
          <p:spPr>
            <a:xfrm>
              <a:off x="8607749" y="3427232"/>
              <a:ext cx="163837" cy="227339"/>
            </a:xfrm>
            <a:custGeom>
              <a:avLst/>
              <a:gdLst>
                <a:gd name="connsiteX0" fmla="*/ 163838 w 163837"/>
                <a:gd name="connsiteY0" fmla="*/ 114305 h 227339"/>
                <a:gd name="connsiteX1" fmla="*/ 0 w 163837"/>
                <a:gd name="connsiteY1" fmla="*/ 227339 h 227339"/>
                <a:gd name="connsiteX2" fmla="*/ 0 w 163837"/>
                <a:gd name="connsiteY2" fmla="*/ 0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339">
                  <a:moveTo>
                    <a:pt x="163838" y="114305"/>
                  </a:moveTo>
                  <a:lnTo>
                    <a:pt x="0" y="22733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F3CC5313-F00E-46ED-9935-39DE41DD1D05}"/>
                </a:ext>
              </a:extLst>
            </p:cNvPr>
            <p:cNvSpPr/>
            <p:nvPr/>
          </p:nvSpPr>
          <p:spPr>
            <a:xfrm>
              <a:off x="8609018" y="3662191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7 w 673766"/>
                <a:gd name="connsiteY1" fmla="*/ 234324 h 351168"/>
                <a:gd name="connsiteX2" fmla="*/ 506119 w 673766"/>
                <a:gd name="connsiteY2" fmla="*/ 351169 h 351168"/>
                <a:gd name="connsiteX3" fmla="*/ 337836 w 673766"/>
                <a:gd name="connsiteY3" fmla="*/ 234959 h 351168"/>
                <a:gd name="connsiteX4" fmla="*/ 337201 w 673766"/>
                <a:gd name="connsiteY4" fmla="*/ 234324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7" y="234324"/>
                  </a:lnTo>
                  <a:lnTo>
                    <a:pt x="506119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2A70D793-87DE-4F81-8F0A-B87F7AD5AF59}"/>
                </a:ext>
              </a:extLst>
            </p:cNvPr>
            <p:cNvSpPr/>
            <p:nvPr/>
          </p:nvSpPr>
          <p:spPr>
            <a:xfrm>
              <a:off x="9288500" y="3427232"/>
              <a:ext cx="163837" cy="227339"/>
            </a:xfrm>
            <a:custGeom>
              <a:avLst/>
              <a:gdLst>
                <a:gd name="connsiteX0" fmla="*/ 0 w 163837"/>
                <a:gd name="connsiteY0" fmla="*/ 0 h 227339"/>
                <a:gd name="connsiteX1" fmla="*/ 163838 w 163837"/>
                <a:gd name="connsiteY1" fmla="*/ 114305 h 227339"/>
                <a:gd name="connsiteX2" fmla="*/ 0 w 163837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339">
                  <a:moveTo>
                    <a:pt x="0" y="0"/>
                  </a:moveTo>
                  <a:lnTo>
                    <a:pt x="163838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0F1D6452-3A21-4400-9D41-9F01D2775F61}"/>
                </a:ext>
              </a:extLst>
            </p:cNvPr>
            <p:cNvSpPr/>
            <p:nvPr/>
          </p:nvSpPr>
          <p:spPr>
            <a:xfrm>
              <a:off x="9289770" y="3662191"/>
              <a:ext cx="673766" cy="351168"/>
            </a:xfrm>
            <a:custGeom>
              <a:avLst/>
              <a:gdLst>
                <a:gd name="connsiteX0" fmla="*/ 337836 w 673766"/>
                <a:gd name="connsiteY0" fmla="*/ 234959 h 351168"/>
                <a:gd name="connsiteX1" fmla="*/ 337201 w 673766"/>
                <a:gd name="connsiteY1" fmla="*/ 234324 h 351168"/>
                <a:gd name="connsiteX2" fmla="*/ 168283 w 673766"/>
                <a:gd name="connsiteY2" fmla="*/ 351169 h 351168"/>
                <a:gd name="connsiteX3" fmla="*/ 0 w 673766"/>
                <a:gd name="connsiteY3" fmla="*/ 234324 h 351168"/>
                <a:gd name="connsiteX4" fmla="*/ 337201 w 673766"/>
                <a:gd name="connsiteY4" fmla="*/ 0 h 351168"/>
                <a:gd name="connsiteX5" fmla="*/ 673767 w 673766"/>
                <a:gd name="connsiteY5" fmla="*/ 234324 h 351168"/>
                <a:gd name="connsiteX6" fmla="*/ 506119 w 673766"/>
                <a:gd name="connsiteY6" fmla="*/ 351169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959"/>
                  </a:move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3767" y="234324"/>
                  </a:lnTo>
                  <a:lnTo>
                    <a:pt x="506119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774C12C6-603B-4637-83A0-D155265A823C}"/>
                </a:ext>
              </a:extLst>
            </p:cNvPr>
            <p:cNvSpPr/>
            <p:nvPr/>
          </p:nvSpPr>
          <p:spPr>
            <a:xfrm>
              <a:off x="9288500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2F1D8781-0394-4F3C-B730-5BEC4575B2A2}"/>
                </a:ext>
              </a:extLst>
            </p:cNvPr>
            <p:cNvSpPr/>
            <p:nvPr/>
          </p:nvSpPr>
          <p:spPr>
            <a:xfrm>
              <a:off x="9289770" y="3307847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4 h 231149"/>
                <a:gd name="connsiteX2" fmla="*/ 165743 w 333390"/>
                <a:gd name="connsiteY2" fmla="*/ 0 h 231149"/>
                <a:gd name="connsiteX3" fmla="*/ 333391 w 333390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4"/>
                  </a:lnTo>
                  <a:lnTo>
                    <a:pt x="165743" y="0"/>
                  </a:lnTo>
                  <a:lnTo>
                    <a:pt x="333391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AAAC85FC-F0B0-4EBE-8393-DB8FB46BCABA}"/>
                </a:ext>
              </a:extLst>
            </p:cNvPr>
            <p:cNvSpPr/>
            <p:nvPr/>
          </p:nvSpPr>
          <p:spPr>
            <a:xfrm>
              <a:off x="9119582" y="3191002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9C99AAD3-E85A-4053-AFB8-4CAF981BAD2C}"/>
                </a:ext>
              </a:extLst>
            </p:cNvPr>
            <p:cNvSpPr/>
            <p:nvPr/>
          </p:nvSpPr>
          <p:spPr>
            <a:xfrm>
              <a:off x="8607749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A02A5EF0-D6FD-47C1-8EE2-249D61B33AA3}"/>
                </a:ext>
              </a:extLst>
            </p:cNvPr>
            <p:cNvSpPr/>
            <p:nvPr/>
          </p:nvSpPr>
          <p:spPr>
            <a:xfrm>
              <a:off x="8609018" y="3307847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4 h 231149"/>
                <a:gd name="connsiteX2" fmla="*/ 166378 w 334025"/>
                <a:gd name="connsiteY2" fmla="*/ 0 h 231149"/>
                <a:gd name="connsiteX3" fmla="*/ 334026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4"/>
                  </a:lnTo>
                  <a:lnTo>
                    <a:pt x="166378" y="0"/>
                  </a:lnTo>
                  <a:lnTo>
                    <a:pt x="334026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0E674B08-9323-44DD-8010-D2A6EC32F530}"/>
                </a:ext>
              </a:extLst>
            </p:cNvPr>
            <p:cNvSpPr/>
            <p:nvPr/>
          </p:nvSpPr>
          <p:spPr>
            <a:xfrm>
              <a:off x="8438830" y="3191002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946BBEF1-267C-4AD1-B85E-A4FBE21362EB}"/>
                </a:ext>
              </a:extLst>
            </p:cNvPr>
            <p:cNvSpPr/>
            <p:nvPr/>
          </p:nvSpPr>
          <p:spPr>
            <a:xfrm>
              <a:off x="7926997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13A23F61-F056-4D12-8B05-D563E7048BA1}"/>
                </a:ext>
              </a:extLst>
            </p:cNvPr>
            <p:cNvSpPr/>
            <p:nvPr/>
          </p:nvSpPr>
          <p:spPr>
            <a:xfrm>
              <a:off x="7928267" y="3307847"/>
              <a:ext cx="334025" cy="231149"/>
            </a:xfrm>
            <a:custGeom>
              <a:avLst/>
              <a:gdLst>
                <a:gd name="connsiteX0" fmla="*/ 166377 w 334025"/>
                <a:gd name="connsiteY0" fmla="*/ 231149 h 231149"/>
                <a:gd name="connsiteX1" fmla="*/ 0 w 334025"/>
                <a:gd name="connsiteY1" fmla="*/ 115574 h 231149"/>
                <a:gd name="connsiteX2" fmla="*/ 166377 w 334025"/>
                <a:gd name="connsiteY2" fmla="*/ 0 h 231149"/>
                <a:gd name="connsiteX3" fmla="*/ 334025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7" y="231149"/>
                  </a:moveTo>
                  <a:lnTo>
                    <a:pt x="0" y="115574"/>
                  </a:lnTo>
                  <a:lnTo>
                    <a:pt x="166377" y="0"/>
                  </a:lnTo>
                  <a:lnTo>
                    <a:pt x="334025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6FE04AAF-6A69-46B2-9D71-250F4020D579}"/>
                </a:ext>
              </a:extLst>
            </p:cNvPr>
            <p:cNvSpPr/>
            <p:nvPr/>
          </p:nvSpPr>
          <p:spPr>
            <a:xfrm>
              <a:off x="7758079" y="3191002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5BA43401-1218-45DB-83FD-7702F0E63617}"/>
                </a:ext>
              </a:extLst>
            </p:cNvPr>
            <p:cNvSpPr/>
            <p:nvPr/>
          </p:nvSpPr>
          <p:spPr>
            <a:xfrm>
              <a:off x="7246245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DE2034FB-C0FD-4E6F-91B7-1A9E6B330395}"/>
                </a:ext>
              </a:extLst>
            </p:cNvPr>
            <p:cNvSpPr/>
            <p:nvPr/>
          </p:nvSpPr>
          <p:spPr>
            <a:xfrm>
              <a:off x="7247515" y="3307847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4 h 231149"/>
                <a:gd name="connsiteX2" fmla="*/ 166378 w 334025"/>
                <a:gd name="connsiteY2" fmla="*/ 0 h 231149"/>
                <a:gd name="connsiteX3" fmla="*/ 334025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4"/>
                  </a:lnTo>
                  <a:lnTo>
                    <a:pt x="166378" y="0"/>
                  </a:lnTo>
                  <a:lnTo>
                    <a:pt x="334025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4C2B280D-E981-4DD3-8C95-D6E8B75C6BCD}"/>
                </a:ext>
              </a:extLst>
            </p:cNvPr>
            <p:cNvSpPr/>
            <p:nvPr/>
          </p:nvSpPr>
          <p:spPr>
            <a:xfrm>
              <a:off x="7077327" y="3191002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33867644-AA12-4EC2-ADED-D3AF2C07226E}"/>
                </a:ext>
              </a:extLst>
            </p:cNvPr>
            <p:cNvSpPr/>
            <p:nvPr/>
          </p:nvSpPr>
          <p:spPr>
            <a:xfrm>
              <a:off x="6565493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C5F93F10-F0D6-4A82-A903-5CCB76D11F1C}"/>
                </a:ext>
              </a:extLst>
            </p:cNvPr>
            <p:cNvSpPr/>
            <p:nvPr/>
          </p:nvSpPr>
          <p:spPr>
            <a:xfrm>
              <a:off x="6566763" y="3307847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4 h 231149"/>
                <a:gd name="connsiteX2" fmla="*/ 166378 w 334025"/>
                <a:gd name="connsiteY2" fmla="*/ 0 h 231149"/>
                <a:gd name="connsiteX3" fmla="*/ 334026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4"/>
                  </a:lnTo>
                  <a:lnTo>
                    <a:pt x="166378" y="0"/>
                  </a:lnTo>
                  <a:lnTo>
                    <a:pt x="334026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229F99F4-0E43-4E0E-910F-CCDCDE892330}"/>
                </a:ext>
              </a:extLst>
            </p:cNvPr>
            <p:cNvSpPr/>
            <p:nvPr/>
          </p:nvSpPr>
          <p:spPr>
            <a:xfrm>
              <a:off x="6396575" y="3191002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EE0CE674-AA74-495B-8852-79990673FDD2}"/>
                </a:ext>
              </a:extLst>
            </p:cNvPr>
            <p:cNvSpPr/>
            <p:nvPr/>
          </p:nvSpPr>
          <p:spPr>
            <a:xfrm>
              <a:off x="5884741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7F84C14D-69E9-44A9-91A0-58D35CC129CF}"/>
                </a:ext>
              </a:extLst>
            </p:cNvPr>
            <p:cNvSpPr/>
            <p:nvPr/>
          </p:nvSpPr>
          <p:spPr>
            <a:xfrm>
              <a:off x="5886011" y="3307847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4 h 231149"/>
                <a:gd name="connsiteX2" fmla="*/ 166378 w 334025"/>
                <a:gd name="connsiteY2" fmla="*/ 0 h 231149"/>
                <a:gd name="connsiteX3" fmla="*/ 334026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4"/>
                  </a:lnTo>
                  <a:lnTo>
                    <a:pt x="166378" y="0"/>
                  </a:lnTo>
                  <a:lnTo>
                    <a:pt x="334026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07563523-AA85-4FC4-A4F4-03EE190DBCCD}"/>
                </a:ext>
              </a:extLst>
            </p:cNvPr>
            <p:cNvSpPr/>
            <p:nvPr/>
          </p:nvSpPr>
          <p:spPr>
            <a:xfrm>
              <a:off x="5715823" y="3191002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BCAD2BC0-B6ED-48BF-AE2E-0FB290D004E5}"/>
                </a:ext>
              </a:extLst>
            </p:cNvPr>
            <p:cNvSpPr/>
            <p:nvPr/>
          </p:nvSpPr>
          <p:spPr>
            <a:xfrm>
              <a:off x="9628876" y="3190367"/>
              <a:ext cx="336565" cy="702973"/>
            </a:xfrm>
            <a:custGeom>
              <a:avLst/>
              <a:gdLst>
                <a:gd name="connsiteX0" fmla="*/ 0 w 336565"/>
                <a:gd name="connsiteY0" fmla="*/ 468649 h 702973"/>
                <a:gd name="connsiteX1" fmla="*/ 0 w 336565"/>
                <a:gd name="connsiteY1" fmla="*/ 0 h 702973"/>
                <a:gd name="connsiteX2" fmla="*/ 167648 w 336565"/>
                <a:gd name="connsiteY2" fmla="*/ 116845 h 702973"/>
                <a:gd name="connsiteX3" fmla="*/ 167648 w 336565"/>
                <a:gd name="connsiteY3" fmla="*/ 351804 h 702973"/>
                <a:gd name="connsiteX4" fmla="*/ 336566 w 336565"/>
                <a:gd name="connsiteY4" fmla="*/ 468649 h 702973"/>
                <a:gd name="connsiteX5" fmla="*/ 336566 w 336565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0" y="468649"/>
                  </a:moveTo>
                  <a:lnTo>
                    <a:pt x="0" y="0"/>
                  </a:lnTo>
                  <a:lnTo>
                    <a:pt x="167648" y="116845"/>
                  </a:ln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4DF85614-C557-4B3B-A368-FA432ECBF4F4}"/>
                </a:ext>
              </a:extLst>
            </p:cNvPr>
            <p:cNvSpPr/>
            <p:nvPr/>
          </p:nvSpPr>
          <p:spPr>
            <a:xfrm>
              <a:off x="9968617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5D81394A-586B-4F10-A588-2149F3C03127}"/>
                </a:ext>
              </a:extLst>
            </p:cNvPr>
            <p:cNvSpPr/>
            <p:nvPr/>
          </p:nvSpPr>
          <p:spPr>
            <a:xfrm>
              <a:off x="9970522" y="3307847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4 h 231149"/>
                <a:gd name="connsiteX2" fmla="*/ 165743 w 333390"/>
                <a:gd name="connsiteY2" fmla="*/ 0 h 231149"/>
                <a:gd name="connsiteX3" fmla="*/ 333391 w 333390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4"/>
                  </a:lnTo>
                  <a:lnTo>
                    <a:pt x="165743" y="0"/>
                  </a:lnTo>
                  <a:lnTo>
                    <a:pt x="333391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E0FA01CE-7307-4106-B27F-DCCA23FAA253}"/>
                </a:ext>
              </a:extLst>
            </p:cNvPr>
            <p:cNvSpPr/>
            <p:nvPr/>
          </p:nvSpPr>
          <p:spPr>
            <a:xfrm>
              <a:off x="9800334" y="3191002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FBEAD109-E3CE-4F5E-B1E6-F850AB51CEF9}"/>
                </a:ext>
              </a:extLst>
            </p:cNvPr>
            <p:cNvSpPr/>
            <p:nvPr/>
          </p:nvSpPr>
          <p:spPr>
            <a:xfrm>
              <a:off x="9459323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F9991A34-08C6-4F3B-8827-DF28C23D5F41}"/>
                </a:ext>
              </a:extLst>
            </p:cNvPr>
            <p:cNvSpPr/>
            <p:nvPr/>
          </p:nvSpPr>
          <p:spPr>
            <a:xfrm>
              <a:off x="8778571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96A6F7FB-8246-4F98-88D7-40836ECECC83}"/>
                </a:ext>
              </a:extLst>
            </p:cNvPr>
            <p:cNvSpPr/>
            <p:nvPr/>
          </p:nvSpPr>
          <p:spPr>
            <a:xfrm>
              <a:off x="8097819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36370102-4813-4D57-B4DB-53E6B01F152F}"/>
                </a:ext>
              </a:extLst>
            </p:cNvPr>
            <p:cNvSpPr/>
            <p:nvPr/>
          </p:nvSpPr>
          <p:spPr>
            <a:xfrm>
              <a:off x="7417068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BBA6BBAC-8562-4F72-83F6-01D58ACEA14D}"/>
                </a:ext>
              </a:extLst>
            </p:cNvPr>
            <p:cNvSpPr/>
            <p:nvPr/>
          </p:nvSpPr>
          <p:spPr>
            <a:xfrm>
              <a:off x="6736316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59C81D27-5AC8-4761-B96B-D61530DF2731}"/>
                </a:ext>
              </a:extLst>
            </p:cNvPr>
            <p:cNvSpPr/>
            <p:nvPr/>
          </p:nvSpPr>
          <p:spPr>
            <a:xfrm>
              <a:off x="6055564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3ECE58F1-342F-4449-A8B2-EAF7572C00F7}"/>
                </a:ext>
              </a:extLst>
            </p:cNvPr>
            <p:cNvSpPr/>
            <p:nvPr/>
          </p:nvSpPr>
          <p:spPr>
            <a:xfrm>
              <a:off x="10139440" y="3190367"/>
              <a:ext cx="166377" cy="229879"/>
            </a:xfrm>
            <a:custGeom>
              <a:avLst/>
              <a:gdLst>
                <a:gd name="connsiteX0" fmla="*/ 0 w 166377"/>
                <a:gd name="connsiteY0" fmla="*/ 115575 h 229879"/>
                <a:gd name="connsiteX1" fmla="*/ 166378 w 166377"/>
                <a:gd name="connsiteY1" fmla="*/ 0 h 229879"/>
                <a:gd name="connsiteX2" fmla="*/ 166378 w 166377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0" y="115575"/>
                  </a:moveTo>
                  <a:lnTo>
                    <a:pt x="166378" y="0"/>
                  </a:lnTo>
                  <a:lnTo>
                    <a:pt x="166378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9685CDF7-98A0-41F9-82BF-A0E2920AC938}"/>
                </a:ext>
              </a:extLst>
            </p:cNvPr>
            <p:cNvSpPr/>
            <p:nvPr/>
          </p:nvSpPr>
          <p:spPr>
            <a:xfrm>
              <a:off x="9628876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2B114F73-3027-48D2-8CE1-B0F88AB3AB13}"/>
                </a:ext>
              </a:extLst>
            </p:cNvPr>
            <p:cNvSpPr/>
            <p:nvPr/>
          </p:nvSpPr>
          <p:spPr>
            <a:xfrm>
              <a:off x="9630146" y="2598524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2C58577A-4B1A-4C40-8FD3-A8082B407BCC}"/>
                </a:ext>
              </a:extLst>
            </p:cNvPr>
            <p:cNvSpPr/>
            <p:nvPr/>
          </p:nvSpPr>
          <p:spPr>
            <a:xfrm>
              <a:off x="9459958" y="2481679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001B54A0-6DD8-4FF2-A586-1F54722672EB}"/>
                </a:ext>
              </a:extLst>
            </p:cNvPr>
            <p:cNvSpPr/>
            <p:nvPr/>
          </p:nvSpPr>
          <p:spPr>
            <a:xfrm>
              <a:off x="8948124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134E9526-3882-4149-94FB-61CCEDFF58A1}"/>
                </a:ext>
              </a:extLst>
            </p:cNvPr>
            <p:cNvSpPr/>
            <p:nvPr/>
          </p:nvSpPr>
          <p:spPr>
            <a:xfrm>
              <a:off x="8949395" y="2598524"/>
              <a:ext cx="334025" cy="231149"/>
            </a:xfrm>
            <a:custGeom>
              <a:avLst/>
              <a:gdLst>
                <a:gd name="connsiteX0" fmla="*/ 165743 w 334025"/>
                <a:gd name="connsiteY0" fmla="*/ 231149 h 231149"/>
                <a:gd name="connsiteX1" fmla="*/ 0 w 334025"/>
                <a:gd name="connsiteY1" fmla="*/ 115575 h 231149"/>
                <a:gd name="connsiteX2" fmla="*/ 165743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AE16586D-39DC-43B8-BFB7-737A8A8B9860}"/>
                </a:ext>
              </a:extLst>
            </p:cNvPr>
            <p:cNvSpPr/>
            <p:nvPr/>
          </p:nvSpPr>
          <p:spPr>
            <a:xfrm>
              <a:off x="8779207" y="2481679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205F0529-BA29-4466-89E0-3E0FFECBCDEC}"/>
                </a:ext>
              </a:extLst>
            </p:cNvPr>
            <p:cNvSpPr/>
            <p:nvPr/>
          </p:nvSpPr>
          <p:spPr>
            <a:xfrm>
              <a:off x="8267372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D6ED1F7A-F39E-417F-BA23-DACEB4ED6ACF}"/>
                </a:ext>
              </a:extLst>
            </p:cNvPr>
            <p:cNvSpPr/>
            <p:nvPr/>
          </p:nvSpPr>
          <p:spPr>
            <a:xfrm>
              <a:off x="8268643" y="2598524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4BA212FF-B362-4351-B7F7-7973F5AE818E}"/>
                </a:ext>
              </a:extLst>
            </p:cNvPr>
            <p:cNvSpPr/>
            <p:nvPr/>
          </p:nvSpPr>
          <p:spPr>
            <a:xfrm>
              <a:off x="8098455" y="2481679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40D28068-E3C3-485A-AC55-7220A97B727E}"/>
                </a:ext>
              </a:extLst>
            </p:cNvPr>
            <p:cNvSpPr/>
            <p:nvPr/>
          </p:nvSpPr>
          <p:spPr>
            <a:xfrm>
              <a:off x="7586621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21FDE1AC-A140-4914-825D-590E24CCB82C}"/>
                </a:ext>
              </a:extLst>
            </p:cNvPr>
            <p:cNvSpPr/>
            <p:nvPr/>
          </p:nvSpPr>
          <p:spPr>
            <a:xfrm>
              <a:off x="7587891" y="2598524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28E97E00-427C-4819-86AA-B171939DC277}"/>
                </a:ext>
              </a:extLst>
            </p:cNvPr>
            <p:cNvSpPr/>
            <p:nvPr/>
          </p:nvSpPr>
          <p:spPr>
            <a:xfrm>
              <a:off x="7417703" y="2481679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3ADC755C-F9F0-4452-9B92-85800B560E21}"/>
                </a:ext>
              </a:extLst>
            </p:cNvPr>
            <p:cNvSpPr/>
            <p:nvPr/>
          </p:nvSpPr>
          <p:spPr>
            <a:xfrm>
              <a:off x="6905869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AD118F9A-85D5-4B12-952B-190584895EC0}"/>
                </a:ext>
              </a:extLst>
            </p:cNvPr>
            <p:cNvSpPr/>
            <p:nvPr/>
          </p:nvSpPr>
          <p:spPr>
            <a:xfrm>
              <a:off x="6907139" y="2598524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8DF3ACF1-84C6-48F6-B683-6FB121110E41}"/>
                </a:ext>
              </a:extLst>
            </p:cNvPr>
            <p:cNvSpPr/>
            <p:nvPr/>
          </p:nvSpPr>
          <p:spPr>
            <a:xfrm>
              <a:off x="6736951" y="2481679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3FB540CF-F034-41E6-8A16-463327EF60D9}"/>
                </a:ext>
              </a:extLst>
            </p:cNvPr>
            <p:cNvSpPr/>
            <p:nvPr/>
          </p:nvSpPr>
          <p:spPr>
            <a:xfrm>
              <a:off x="6225117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BBEDB76A-5014-431B-AD21-144DD9F9A97B}"/>
                </a:ext>
              </a:extLst>
            </p:cNvPr>
            <p:cNvSpPr/>
            <p:nvPr/>
          </p:nvSpPr>
          <p:spPr>
            <a:xfrm>
              <a:off x="6226387" y="2598524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684F3FC6-D392-432F-9B6C-9D843538863B}"/>
                </a:ext>
              </a:extLst>
            </p:cNvPr>
            <p:cNvSpPr/>
            <p:nvPr/>
          </p:nvSpPr>
          <p:spPr>
            <a:xfrm>
              <a:off x="6056199" y="2481679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604EB1E1-3F66-4AEE-A52E-4AA863677FC7}"/>
                </a:ext>
              </a:extLst>
            </p:cNvPr>
            <p:cNvSpPr/>
            <p:nvPr/>
          </p:nvSpPr>
          <p:spPr>
            <a:xfrm>
              <a:off x="9970522" y="3662191"/>
              <a:ext cx="673766" cy="351168"/>
            </a:xfrm>
            <a:custGeom>
              <a:avLst/>
              <a:gdLst>
                <a:gd name="connsiteX0" fmla="*/ 337836 w 673766"/>
                <a:gd name="connsiteY0" fmla="*/ 234959 h 351168"/>
                <a:gd name="connsiteX1" fmla="*/ 336566 w 673766"/>
                <a:gd name="connsiteY1" fmla="*/ 234324 h 351168"/>
                <a:gd name="connsiteX2" fmla="*/ 168283 w 673766"/>
                <a:gd name="connsiteY2" fmla="*/ 351169 h 351168"/>
                <a:gd name="connsiteX3" fmla="*/ 0 w 673766"/>
                <a:gd name="connsiteY3" fmla="*/ 234324 h 351168"/>
                <a:gd name="connsiteX4" fmla="*/ 336566 w 673766"/>
                <a:gd name="connsiteY4" fmla="*/ 0 h 351168"/>
                <a:gd name="connsiteX5" fmla="*/ 673766 w 673766"/>
                <a:gd name="connsiteY5" fmla="*/ 234324 h 351168"/>
                <a:gd name="connsiteX6" fmla="*/ 506119 w 673766"/>
                <a:gd name="connsiteY6" fmla="*/ 351169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959"/>
                  </a:moveTo>
                  <a:lnTo>
                    <a:pt x="336566" y="234324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lnTo>
                    <a:pt x="506119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8C90006C-884A-44DE-B7B0-BBF542823B83}"/>
                </a:ext>
              </a:extLst>
            </p:cNvPr>
            <p:cNvSpPr/>
            <p:nvPr/>
          </p:nvSpPr>
          <p:spPr>
            <a:xfrm>
              <a:off x="10310898" y="2598524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412182C1-AB3B-411B-8F55-17F69748A566}"/>
                </a:ext>
              </a:extLst>
            </p:cNvPr>
            <p:cNvSpPr/>
            <p:nvPr/>
          </p:nvSpPr>
          <p:spPr>
            <a:xfrm>
              <a:off x="10140075" y="2481679"/>
              <a:ext cx="333390" cy="463568"/>
            </a:xfrm>
            <a:custGeom>
              <a:avLst/>
              <a:gdLst>
                <a:gd name="connsiteX0" fmla="*/ 166378 w 333390"/>
                <a:gd name="connsiteY0" fmla="*/ 230514 h 463568"/>
                <a:gd name="connsiteX1" fmla="*/ 165743 w 333390"/>
                <a:gd name="connsiteY1" fmla="*/ 231149 h 463568"/>
                <a:gd name="connsiteX2" fmla="*/ 165743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0514"/>
                  </a:moveTo>
                  <a:lnTo>
                    <a:pt x="165743" y="231149"/>
                  </a:lnTo>
                  <a:lnTo>
                    <a:pt x="165743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C6E85275-B88D-482F-8B8E-673038966349}"/>
                </a:ext>
              </a:extLst>
            </p:cNvPr>
            <p:cNvSpPr/>
            <p:nvPr/>
          </p:nvSpPr>
          <p:spPr>
            <a:xfrm>
              <a:off x="9799699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2B3B90BF-1B00-4C9D-8E27-E7FA2B091580}"/>
                </a:ext>
              </a:extLst>
            </p:cNvPr>
            <p:cNvSpPr/>
            <p:nvPr/>
          </p:nvSpPr>
          <p:spPr>
            <a:xfrm>
              <a:off x="9118948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FBEDBB7E-C026-498D-9AAA-4DC2E26825F9}"/>
                </a:ext>
              </a:extLst>
            </p:cNvPr>
            <p:cNvSpPr/>
            <p:nvPr/>
          </p:nvSpPr>
          <p:spPr>
            <a:xfrm>
              <a:off x="8438196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04E6CA75-6563-4B35-A322-104587CFE903}"/>
                </a:ext>
              </a:extLst>
            </p:cNvPr>
            <p:cNvSpPr/>
            <p:nvPr/>
          </p:nvSpPr>
          <p:spPr>
            <a:xfrm>
              <a:off x="7757444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9C0BC556-CC8E-48D9-8790-5A6BF0EFD156}"/>
                </a:ext>
              </a:extLst>
            </p:cNvPr>
            <p:cNvSpPr/>
            <p:nvPr/>
          </p:nvSpPr>
          <p:spPr>
            <a:xfrm>
              <a:off x="7076692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A6720D8A-7287-49F4-A6A6-8036480253F8}"/>
                </a:ext>
              </a:extLst>
            </p:cNvPr>
            <p:cNvSpPr/>
            <p:nvPr/>
          </p:nvSpPr>
          <p:spPr>
            <a:xfrm>
              <a:off x="6395940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EBEF756D-C8F2-4A09-8566-D02AF549B1A2}"/>
                </a:ext>
              </a:extLst>
            </p:cNvPr>
            <p:cNvSpPr/>
            <p:nvPr/>
          </p:nvSpPr>
          <p:spPr>
            <a:xfrm>
              <a:off x="5715188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0CF7F111-8BAE-477A-8AA8-DFBE0817EC8E}"/>
                </a:ext>
              </a:extLst>
            </p:cNvPr>
            <p:cNvSpPr/>
            <p:nvPr/>
          </p:nvSpPr>
          <p:spPr>
            <a:xfrm>
              <a:off x="10308993" y="3190367"/>
              <a:ext cx="337201" cy="702973"/>
            </a:xfrm>
            <a:custGeom>
              <a:avLst/>
              <a:gdLst>
                <a:gd name="connsiteX0" fmla="*/ 0 w 337201"/>
                <a:gd name="connsiteY0" fmla="*/ 468649 h 702973"/>
                <a:gd name="connsiteX1" fmla="*/ 0 w 337201"/>
                <a:gd name="connsiteY1" fmla="*/ 0 h 702973"/>
                <a:gd name="connsiteX2" fmla="*/ 168283 w 337201"/>
                <a:gd name="connsiteY2" fmla="*/ 116845 h 702973"/>
                <a:gd name="connsiteX3" fmla="*/ 168283 w 337201"/>
                <a:gd name="connsiteY3" fmla="*/ 351804 h 702973"/>
                <a:gd name="connsiteX4" fmla="*/ 337201 w 337201"/>
                <a:gd name="connsiteY4" fmla="*/ 468649 h 702973"/>
                <a:gd name="connsiteX5" fmla="*/ 337201 w 337201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1" h="702973">
                  <a:moveTo>
                    <a:pt x="0" y="468649"/>
                  </a:moveTo>
                  <a:lnTo>
                    <a:pt x="0" y="0"/>
                  </a:lnTo>
                  <a:lnTo>
                    <a:pt x="168283" y="116845"/>
                  </a:lnTo>
                  <a:lnTo>
                    <a:pt x="168283" y="351804"/>
                  </a:lnTo>
                  <a:lnTo>
                    <a:pt x="337201" y="468649"/>
                  </a:lnTo>
                  <a:lnTo>
                    <a:pt x="337201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5658C18C-2F05-421A-B49A-D685CBBC0D0D}"/>
                </a:ext>
              </a:extLst>
            </p:cNvPr>
            <p:cNvSpPr/>
            <p:nvPr/>
          </p:nvSpPr>
          <p:spPr>
            <a:xfrm>
              <a:off x="10649369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14C04ACE-AA35-420A-B14E-4A9290E5C1ED}"/>
                </a:ext>
              </a:extLst>
            </p:cNvPr>
            <p:cNvSpPr/>
            <p:nvPr/>
          </p:nvSpPr>
          <p:spPr>
            <a:xfrm>
              <a:off x="10651274" y="3307847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4 h 231149"/>
                <a:gd name="connsiteX2" fmla="*/ 165743 w 333390"/>
                <a:gd name="connsiteY2" fmla="*/ 0 h 231149"/>
                <a:gd name="connsiteX3" fmla="*/ 333390 w 333390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4"/>
                  </a:lnTo>
                  <a:lnTo>
                    <a:pt x="165743" y="0"/>
                  </a:lnTo>
                  <a:lnTo>
                    <a:pt x="333390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40FAFD15-3F82-4DC8-9636-0E3300160E51}"/>
                </a:ext>
              </a:extLst>
            </p:cNvPr>
            <p:cNvSpPr/>
            <p:nvPr/>
          </p:nvSpPr>
          <p:spPr>
            <a:xfrm>
              <a:off x="10480451" y="3191002"/>
              <a:ext cx="333390" cy="463568"/>
            </a:xfrm>
            <a:custGeom>
              <a:avLst/>
              <a:gdLst>
                <a:gd name="connsiteX0" fmla="*/ 166378 w 333390"/>
                <a:gd name="connsiteY0" fmla="*/ 231149 h 463568"/>
                <a:gd name="connsiteX1" fmla="*/ 165743 w 333390"/>
                <a:gd name="connsiteY1" fmla="*/ 231784 h 463568"/>
                <a:gd name="connsiteX2" fmla="*/ 165743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1149"/>
                  </a:moveTo>
                  <a:lnTo>
                    <a:pt x="165743" y="231784"/>
                  </a:lnTo>
                  <a:lnTo>
                    <a:pt x="165743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859A618E-14D7-464D-82D6-2FEDD6C8CF8E}"/>
                </a:ext>
              </a:extLst>
            </p:cNvPr>
            <p:cNvSpPr/>
            <p:nvPr/>
          </p:nvSpPr>
          <p:spPr>
            <a:xfrm>
              <a:off x="10310898" y="2952868"/>
              <a:ext cx="673766" cy="351168"/>
            </a:xfrm>
            <a:custGeom>
              <a:avLst/>
              <a:gdLst>
                <a:gd name="connsiteX0" fmla="*/ 337836 w 673766"/>
                <a:gd name="connsiteY0" fmla="*/ 234324 h 351168"/>
                <a:gd name="connsiteX1" fmla="*/ 336566 w 673766"/>
                <a:gd name="connsiteY1" fmla="*/ 233689 h 351168"/>
                <a:gd name="connsiteX2" fmla="*/ 168283 w 673766"/>
                <a:gd name="connsiteY2" fmla="*/ 351169 h 351168"/>
                <a:gd name="connsiteX3" fmla="*/ 0 w 673766"/>
                <a:gd name="connsiteY3" fmla="*/ 234324 h 351168"/>
                <a:gd name="connsiteX4" fmla="*/ 336566 w 673766"/>
                <a:gd name="connsiteY4" fmla="*/ 0 h 351168"/>
                <a:gd name="connsiteX5" fmla="*/ 673766 w 673766"/>
                <a:gd name="connsiteY5" fmla="*/ 234324 h 351168"/>
                <a:gd name="connsiteX6" fmla="*/ 506119 w 673766"/>
                <a:gd name="connsiteY6" fmla="*/ 35053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324"/>
                  </a:moveTo>
                  <a:lnTo>
                    <a:pt x="336566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lnTo>
                    <a:pt x="506119" y="35053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D34519AE-F698-4D70-A61E-89409218FBF5}"/>
                </a:ext>
              </a:extLst>
            </p:cNvPr>
            <p:cNvSpPr/>
            <p:nvPr/>
          </p:nvSpPr>
          <p:spPr>
            <a:xfrm>
              <a:off x="10479816" y="2481044"/>
              <a:ext cx="166377" cy="229244"/>
            </a:xfrm>
            <a:custGeom>
              <a:avLst/>
              <a:gdLst>
                <a:gd name="connsiteX0" fmla="*/ 0 w 166377"/>
                <a:gd name="connsiteY0" fmla="*/ 114939 h 229244"/>
                <a:gd name="connsiteX1" fmla="*/ 166378 w 166377"/>
                <a:gd name="connsiteY1" fmla="*/ 0 h 229244"/>
                <a:gd name="connsiteX2" fmla="*/ 166378 w 166377"/>
                <a:gd name="connsiteY2" fmla="*/ 229244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244">
                  <a:moveTo>
                    <a:pt x="0" y="114939"/>
                  </a:moveTo>
                  <a:lnTo>
                    <a:pt x="166378" y="0"/>
                  </a:lnTo>
                  <a:lnTo>
                    <a:pt x="166378" y="22924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B7BF7F4B-8AA0-4A00-9937-617DA37B40E5}"/>
                </a:ext>
              </a:extLst>
            </p:cNvPr>
            <p:cNvSpPr/>
            <p:nvPr/>
          </p:nvSpPr>
          <p:spPr>
            <a:xfrm>
              <a:off x="10649369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A9D6433D-B79B-4FCD-BE3A-AEAF1FBACF68}"/>
                </a:ext>
              </a:extLst>
            </p:cNvPr>
            <p:cNvSpPr/>
            <p:nvPr/>
          </p:nvSpPr>
          <p:spPr>
            <a:xfrm>
              <a:off x="10651274" y="1888565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0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0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415A1B2E-B04A-48AA-BAAE-3B3351F0A82A}"/>
                </a:ext>
              </a:extLst>
            </p:cNvPr>
            <p:cNvSpPr/>
            <p:nvPr/>
          </p:nvSpPr>
          <p:spPr>
            <a:xfrm>
              <a:off x="10480451" y="1771720"/>
              <a:ext cx="333390" cy="463568"/>
            </a:xfrm>
            <a:custGeom>
              <a:avLst/>
              <a:gdLst>
                <a:gd name="connsiteX0" fmla="*/ 166378 w 333390"/>
                <a:gd name="connsiteY0" fmla="*/ 231149 h 463568"/>
                <a:gd name="connsiteX1" fmla="*/ 165743 w 333390"/>
                <a:gd name="connsiteY1" fmla="*/ 231784 h 463568"/>
                <a:gd name="connsiteX2" fmla="*/ 165743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1149"/>
                  </a:moveTo>
                  <a:lnTo>
                    <a:pt x="165743" y="231784"/>
                  </a:lnTo>
                  <a:lnTo>
                    <a:pt x="165743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B0BAE090-F6AD-4E9C-90E1-1D722EB7FB0D}"/>
                </a:ext>
              </a:extLst>
            </p:cNvPr>
            <p:cNvSpPr/>
            <p:nvPr/>
          </p:nvSpPr>
          <p:spPr>
            <a:xfrm>
              <a:off x="9968617" y="2007950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635 w 337200"/>
                <a:gd name="connsiteY1" fmla="*/ 466109 h 466108"/>
                <a:gd name="connsiteX2" fmla="*/ 0 w 337200"/>
                <a:gd name="connsiteY2" fmla="*/ 232419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635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7700CD84-67F2-4A1C-BBF7-9B61332445FE}"/>
                </a:ext>
              </a:extLst>
            </p:cNvPr>
            <p:cNvSpPr/>
            <p:nvPr/>
          </p:nvSpPr>
          <p:spPr>
            <a:xfrm>
              <a:off x="9970522" y="1888565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7C3D6DA5-6646-427C-BBCC-B6D6CC4A2459}"/>
                </a:ext>
              </a:extLst>
            </p:cNvPr>
            <p:cNvSpPr/>
            <p:nvPr/>
          </p:nvSpPr>
          <p:spPr>
            <a:xfrm>
              <a:off x="9800334" y="1771720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947F097E-5035-4E3B-AE70-EE0B1439B9D9}"/>
                </a:ext>
              </a:extLst>
            </p:cNvPr>
            <p:cNvSpPr/>
            <p:nvPr/>
          </p:nvSpPr>
          <p:spPr>
            <a:xfrm>
              <a:off x="9288500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090DF782-79E2-45E2-9B01-858C50E5A428}"/>
                </a:ext>
              </a:extLst>
            </p:cNvPr>
            <p:cNvSpPr/>
            <p:nvPr/>
          </p:nvSpPr>
          <p:spPr>
            <a:xfrm>
              <a:off x="9289770" y="1888565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C0D2BA6E-3D63-4AB6-8788-D7921B4F81A0}"/>
                </a:ext>
              </a:extLst>
            </p:cNvPr>
            <p:cNvSpPr/>
            <p:nvPr/>
          </p:nvSpPr>
          <p:spPr>
            <a:xfrm>
              <a:off x="9119582" y="1771720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4408B3B7-2C21-4298-87CB-FA9098B2B410}"/>
                </a:ext>
              </a:extLst>
            </p:cNvPr>
            <p:cNvSpPr/>
            <p:nvPr/>
          </p:nvSpPr>
          <p:spPr>
            <a:xfrm>
              <a:off x="8607749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219839A4-95CD-4552-A7B0-55E8374B1232}"/>
                </a:ext>
              </a:extLst>
            </p:cNvPr>
            <p:cNvSpPr/>
            <p:nvPr/>
          </p:nvSpPr>
          <p:spPr>
            <a:xfrm>
              <a:off x="8609018" y="1888565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D418929C-34D4-4B95-A6D4-80BC0B831CC4}"/>
                </a:ext>
              </a:extLst>
            </p:cNvPr>
            <p:cNvSpPr/>
            <p:nvPr/>
          </p:nvSpPr>
          <p:spPr>
            <a:xfrm>
              <a:off x="8438830" y="1771720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1336C3F2-3788-4ED5-8F0B-459432342994}"/>
                </a:ext>
              </a:extLst>
            </p:cNvPr>
            <p:cNvSpPr/>
            <p:nvPr/>
          </p:nvSpPr>
          <p:spPr>
            <a:xfrm>
              <a:off x="7926997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6C381483-6210-4302-A8A8-F491FF4BE6D9}"/>
                </a:ext>
              </a:extLst>
            </p:cNvPr>
            <p:cNvSpPr/>
            <p:nvPr/>
          </p:nvSpPr>
          <p:spPr>
            <a:xfrm>
              <a:off x="7928267" y="1888565"/>
              <a:ext cx="334025" cy="231784"/>
            </a:xfrm>
            <a:custGeom>
              <a:avLst/>
              <a:gdLst>
                <a:gd name="connsiteX0" fmla="*/ 166377 w 334025"/>
                <a:gd name="connsiteY0" fmla="*/ 231784 h 231784"/>
                <a:gd name="connsiteX1" fmla="*/ 0 w 334025"/>
                <a:gd name="connsiteY1" fmla="*/ 115575 h 231784"/>
                <a:gd name="connsiteX2" fmla="*/ 166377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7" y="231784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4313E68E-E8CB-4FD5-879C-34E2BEA55701}"/>
                </a:ext>
              </a:extLst>
            </p:cNvPr>
            <p:cNvSpPr/>
            <p:nvPr/>
          </p:nvSpPr>
          <p:spPr>
            <a:xfrm>
              <a:off x="7758079" y="1771720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CEE71169-B49C-4DF0-BD2D-35742295D3AE}"/>
                </a:ext>
              </a:extLst>
            </p:cNvPr>
            <p:cNvSpPr/>
            <p:nvPr/>
          </p:nvSpPr>
          <p:spPr>
            <a:xfrm>
              <a:off x="7246245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3B4411D5-237C-4D18-A7A1-326672BA05CD}"/>
                </a:ext>
              </a:extLst>
            </p:cNvPr>
            <p:cNvSpPr/>
            <p:nvPr/>
          </p:nvSpPr>
          <p:spPr>
            <a:xfrm>
              <a:off x="7247515" y="1888565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921E176D-AC97-499E-8222-13466B445949}"/>
                </a:ext>
              </a:extLst>
            </p:cNvPr>
            <p:cNvSpPr/>
            <p:nvPr/>
          </p:nvSpPr>
          <p:spPr>
            <a:xfrm>
              <a:off x="7077327" y="1771720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4DE4495B-A63C-44F6-B00B-648F7D3D39EC}"/>
                </a:ext>
              </a:extLst>
            </p:cNvPr>
            <p:cNvSpPr/>
            <p:nvPr/>
          </p:nvSpPr>
          <p:spPr>
            <a:xfrm>
              <a:off x="6565493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81FFEF8B-32D5-441E-9096-E84DC45C47B8}"/>
                </a:ext>
              </a:extLst>
            </p:cNvPr>
            <p:cNvSpPr/>
            <p:nvPr/>
          </p:nvSpPr>
          <p:spPr>
            <a:xfrm>
              <a:off x="6566763" y="1888565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CC2AC9E3-847C-470C-BF9A-1710815186F6}"/>
                </a:ext>
              </a:extLst>
            </p:cNvPr>
            <p:cNvSpPr/>
            <p:nvPr/>
          </p:nvSpPr>
          <p:spPr>
            <a:xfrm>
              <a:off x="6396575" y="1771720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87989E59-BF15-41FA-A1AA-2ACD42F0D8D0}"/>
                </a:ext>
              </a:extLst>
            </p:cNvPr>
            <p:cNvSpPr/>
            <p:nvPr/>
          </p:nvSpPr>
          <p:spPr>
            <a:xfrm>
              <a:off x="5884741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FCE73372-C137-4EEB-BE02-689E65EADDD2}"/>
                </a:ext>
              </a:extLst>
            </p:cNvPr>
            <p:cNvSpPr/>
            <p:nvPr/>
          </p:nvSpPr>
          <p:spPr>
            <a:xfrm>
              <a:off x="5886011" y="1888565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0DA39390-856C-4EBA-857B-29E88802B8E2}"/>
                </a:ext>
              </a:extLst>
            </p:cNvPr>
            <p:cNvSpPr/>
            <p:nvPr/>
          </p:nvSpPr>
          <p:spPr>
            <a:xfrm>
              <a:off x="5715823" y="1771720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AEA0E781-D6C0-49FD-9A78-6B92499F47F1}"/>
                </a:ext>
              </a:extLst>
            </p:cNvPr>
            <p:cNvSpPr/>
            <p:nvPr/>
          </p:nvSpPr>
          <p:spPr>
            <a:xfrm>
              <a:off x="10820192" y="3190367"/>
              <a:ext cx="166377" cy="229879"/>
            </a:xfrm>
            <a:custGeom>
              <a:avLst/>
              <a:gdLst>
                <a:gd name="connsiteX0" fmla="*/ 0 w 166377"/>
                <a:gd name="connsiteY0" fmla="*/ 115575 h 229879"/>
                <a:gd name="connsiteX1" fmla="*/ 166378 w 166377"/>
                <a:gd name="connsiteY1" fmla="*/ 0 h 229879"/>
                <a:gd name="connsiteX2" fmla="*/ 166378 w 166377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0" y="115575"/>
                  </a:moveTo>
                  <a:lnTo>
                    <a:pt x="166378" y="0"/>
                  </a:lnTo>
                  <a:lnTo>
                    <a:pt x="166378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9290B643-9950-461D-9380-4F69D7177E69}"/>
                </a:ext>
              </a:extLst>
            </p:cNvPr>
            <p:cNvSpPr/>
            <p:nvPr/>
          </p:nvSpPr>
          <p:spPr>
            <a:xfrm>
              <a:off x="10820192" y="1771085"/>
              <a:ext cx="166377" cy="229879"/>
            </a:xfrm>
            <a:custGeom>
              <a:avLst/>
              <a:gdLst>
                <a:gd name="connsiteX0" fmla="*/ 0 w 166377"/>
                <a:gd name="connsiteY0" fmla="*/ 115575 h 229879"/>
                <a:gd name="connsiteX1" fmla="*/ 166378 w 166377"/>
                <a:gd name="connsiteY1" fmla="*/ 0 h 229879"/>
                <a:gd name="connsiteX2" fmla="*/ 166378 w 166377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0" y="115575"/>
                  </a:moveTo>
                  <a:lnTo>
                    <a:pt x="166378" y="0"/>
                  </a:lnTo>
                  <a:lnTo>
                    <a:pt x="166378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DA490AAC-BEB9-499E-9AEE-67664785080C}"/>
                </a:ext>
              </a:extLst>
            </p:cNvPr>
            <p:cNvSpPr/>
            <p:nvPr/>
          </p:nvSpPr>
          <p:spPr>
            <a:xfrm>
              <a:off x="10139440" y="1771085"/>
              <a:ext cx="166377" cy="229879"/>
            </a:xfrm>
            <a:custGeom>
              <a:avLst/>
              <a:gdLst>
                <a:gd name="connsiteX0" fmla="*/ 166378 w 166377"/>
                <a:gd name="connsiteY0" fmla="*/ 229879 h 229879"/>
                <a:gd name="connsiteX1" fmla="*/ 0 w 166377"/>
                <a:gd name="connsiteY1" fmla="*/ 115575 h 229879"/>
                <a:gd name="connsiteX2" fmla="*/ 166378 w 166377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166378" y="229879"/>
                  </a:moveTo>
                  <a:lnTo>
                    <a:pt x="0" y="115575"/>
                  </a:lnTo>
                  <a:lnTo>
                    <a:pt x="166378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220652E1-B7E6-4504-9612-BEEC1FACCED1}"/>
                </a:ext>
              </a:extLst>
            </p:cNvPr>
            <p:cNvSpPr/>
            <p:nvPr/>
          </p:nvSpPr>
          <p:spPr>
            <a:xfrm>
              <a:off x="9459323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D225F6D3-36FA-4C22-B82B-F6CE4A928651}"/>
                </a:ext>
              </a:extLst>
            </p:cNvPr>
            <p:cNvSpPr/>
            <p:nvPr/>
          </p:nvSpPr>
          <p:spPr>
            <a:xfrm>
              <a:off x="8778571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15E443DA-BF7B-4ABC-BAF6-79733290503A}"/>
                </a:ext>
              </a:extLst>
            </p:cNvPr>
            <p:cNvSpPr/>
            <p:nvPr/>
          </p:nvSpPr>
          <p:spPr>
            <a:xfrm>
              <a:off x="8097819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B6CBC8DD-2784-46D7-AE99-6AE7952F289D}"/>
                </a:ext>
              </a:extLst>
            </p:cNvPr>
            <p:cNvSpPr/>
            <p:nvPr/>
          </p:nvSpPr>
          <p:spPr>
            <a:xfrm>
              <a:off x="7417068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3C3E7E2C-FB24-41FA-A72E-43E3E516C424}"/>
                </a:ext>
              </a:extLst>
            </p:cNvPr>
            <p:cNvSpPr/>
            <p:nvPr/>
          </p:nvSpPr>
          <p:spPr>
            <a:xfrm>
              <a:off x="6736316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B9EB99CF-0F22-44C6-B263-2CDDBC1C1FB1}"/>
                </a:ext>
              </a:extLst>
            </p:cNvPr>
            <p:cNvSpPr/>
            <p:nvPr/>
          </p:nvSpPr>
          <p:spPr>
            <a:xfrm>
              <a:off x="6055564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FB2483BC-80A4-4233-9B1E-919CA86D71F3}"/>
                </a:ext>
              </a:extLst>
            </p:cNvPr>
            <p:cNvSpPr/>
            <p:nvPr/>
          </p:nvSpPr>
          <p:spPr>
            <a:xfrm>
              <a:off x="10651274" y="3662191"/>
              <a:ext cx="673766" cy="351168"/>
            </a:xfrm>
            <a:custGeom>
              <a:avLst/>
              <a:gdLst>
                <a:gd name="connsiteX0" fmla="*/ 337836 w 673766"/>
                <a:gd name="connsiteY0" fmla="*/ 234959 h 351168"/>
                <a:gd name="connsiteX1" fmla="*/ 336565 w 673766"/>
                <a:gd name="connsiteY1" fmla="*/ 234324 h 351168"/>
                <a:gd name="connsiteX2" fmla="*/ 168283 w 673766"/>
                <a:gd name="connsiteY2" fmla="*/ 351169 h 351168"/>
                <a:gd name="connsiteX3" fmla="*/ 0 w 673766"/>
                <a:gd name="connsiteY3" fmla="*/ 234324 h 351168"/>
                <a:gd name="connsiteX4" fmla="*/ 336565 w 673766"/>
                <a:gd name="connsiteY4" fmla="*/ 0 h 351168"/>
                <a:gd name="connsiteX5" fmla="*/ 673767 w 673766"/>
                <a:gd name="connsiteY5" fmla="*/ 234324 h 351168"/>
                <a:gd name="connsiteX6" fmla="*/ 506119 w 673766"/>
                <a:gd name="connsiteY6" fmla="*/ 351169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959"/>
                  </a:moveTo>
                  <a:lnTo>
                    <a:pt x="336565" y="234324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6565" y="0"/>
                  </a:lnTo>
                  <a:lnTo>
                    <a:pt x="673767" y="234324"/>
                  </a:lnTo>
                  <a:lnTo>
                    <a:pt x="506119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78F5CEB4-1AD8-499E-A38B-43F0A704EA12}"/>
                </a:ext>
              </a:extLst>
            </p:cNvPr>
            <p:cNvSpPr/>
            <p:nvPr/>
          </p:nvSpPr>
          <p:spPr>
            <a:xfrm>
              <a:off x="10991650" y="2598524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5088C5F7-92F4-4DC1-87BD-BEF5C87A3675}"/>
                </a:ext>
              </a:extLst>
            </p:cNvPr>
            <p:cNvSpPr/>
            <p:nvPr/>
          </p:nvSpPr>
          <p:spPr>
            <a:xfrm>
              <a:off x="10820827" y="2481679"/>
              <a:ext cx="333390" cy="463568"/>
            </a:xfrm>
            <a:custGeom>
              <a:avLst/>
              <a:gdLst>
                <a:gd name="connsiteX0" fmla="*/ 166377 w 333390"/>
                <a:gd name="connsiteY0" fmla="*/ 230514 h 463568"/>
                <a:gd name="connsiteX1" fmla="*/ 165743 w 333390"/>
                <a:gd name="connsiteY1" fmla="*/ 231149 h 463568"/>
                <a:gd name="connsiteX2" fmla="*/ 165743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2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7" y="230514"/>
                  </a:moveTo>
                  <a:lnTo>
                    <a:pt x="165743" y="231149"/>
                  </a:lnTo>
                  <a:lnTo>
                    <a:pt x="165743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2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5" name="Freeform: Shape 264">
              <a:extLst>
                <a:ext uri="{FF2B5EF4-FFF2-40B4-BE49-F238E27FC236}">
                  <a16:creationId xmlns:a16="http://schemas.microsoft.com/office/drawing/2014/main" id="{3F2885F5-C46D-4388-BA77-9E6DC869D443}"/>
                </a:ext>
              </a:extLst>
            </p:cNvPr>
            <p:cNvSpPr/>
            <p:nvPr/>
          </p:nvSpPr>
          <p:spPr>
            <a:xfrm>
              <a:off x="10651274" y="2242909"/>
              <a:ext cx="673766" cy="351804"/>
            </a:xfrm>
            <a:custGeom>
              <a:avLst/>
              <a:gdLst>
                <a:gd name="connsiteX0" fmla="*/ 337836 w 673766"/>
                <a:gd name="connsiteY0" fmla="*/ 234959 h 351804"/>
                <a:gd name="connsiteX1" fmla="*/ 336565 w 673766"/>
                <a:gd name="connsiteY1" fmla="*/ 234324 h 351804"/>
                <a:gd name="connsiteX2" fmla="*/ 168283 w 673766"/>
                <a:gd name="connsiteY2" fmla="*/ 351804 h 351804"/>
                <a:gd name="connsiteX3" fmla="*/ 0 w 673766"/>
                <a:gd name="connsiteY3" fmla="*/ 234324 h 351804"/>
                <a:gd name="connsiteX4" fmla="*/ 336565 w 673766"/>
                <a:gd name="connsiteY4" fmla="*/ 0 h 351804"/>
                <a:gd name="connsiteX5" fmla="*/ 673767 w 673766"/>
                <a:gd name="connsiteY5" fmla="*/ 234324 h 351804"/>
                <a:gd name="connsiteX6" fmla="*/ 506119 w 673766"/>
                <a:gd name="connsiteY6" fmla="*/ 351169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804">
                  <a:moveTo>
                    <a:pt x="337836" y="234959"/>
                  </a:moveTo>
                  <a:lnTo>
                    <a:pt x="336565" y="234324"/>
                  </a:lnTo>
                  <a:lnTo>
                    <a:pt x="168283" y="351804"/>
                  </a:lnTo>
                  <a:lnTo>
                    <a:pt x="0" y="234324"/>
                  </a:lnTo>
                  <a:lnTo>
                    <a:pt x="336565" y="0"/>
                  </a:lnTo>
                  <a:lnTo>
                    <a:pt x="673767" y="234324"/>
                  </a:lnTo>
                  <a:lnTo>
                    <a:pt x="506119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5394838C-726B-4536-AB33-8679196F9964}"/>
                </a:ext>
              </a:extLst>
            </p:cNvPr>
            <p:cNvSpPr/>
            <p:nvPr/>
          </p:nvSpPr>
          <p:spPr>
            <a:xfrm>
              <a:off x="10991650" y="1179242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BDA7FED4-F82B-44FF-802B-8EF65B1F7331}"/>
                </a:ext>
              </a:extLst>
            </p:cNvPr>
            <p:cNvSpPr/>
            <p:nvPr/>
          </p:nvSpPr>
          <p:spPr>
            <a:xfrm>
              <a:off x="10820827" y="1062397"/>
              <a:ext cx="333390" cy="463568"/>
            </a:xfrm>
            <a:custGeom>
              <a:avLst/>
              <a:gdLst>
                <a:gd name="connsiteX0" fmla="*/ 166377 w 333390"/>
                <a:gd name="connsiteY0" fmla="*/ 230514 h 463568"/>
                <a:gd name="connsiteX1" fmla="*/ 165743 w 333390"/>
                <a:gd name="connsiteY1" fmla="*/ 231149 h 463568"/>
                <a:gd name="connsiteX2" fmla="*/ 165743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2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7" y="230514"/>
                  </a:moveTo>
                  <a:lnTo>
                    <a:pt x="165743" y="231149"/>
                  </a:lnTo>
                  <a:lnTo>
                    <a:pt x="165743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2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8" name="Freeform: Shape 267">
              <a:extLst>
                <a:ext uri="{FF2B5EF4-FFF2-40B4-BE49-F238E27FC236}">
                  <a16:creationId xmlns:a16="http://schemas.microsoft.com/office/drawing/2014/main" id="{726A0C84-2204-49BA-93D7-3B3248D345FC}"/>
                </a:ext>
              </a:extLst>
            </p:cNvPr>
            <p:cNvSpPr/>
            <p:nvPr/>
          </p:nvSpPr>
          <p:spPr>
            <a:xfrm>
              <a:off x="10308993" y="1297991"/>
              <a:ext cx="337201" cy="466108"/>
            </a:xfrm>
            <a:custGeom>
              <a:avLst/>
              <a:gdLst>
                <a:gd name="connsiteX0" fmla="*/ 337201 w 337201"/>
                <a:gd name="connsiteY0" fmla="*/ 232419 h 466108"/>
                <a:gd name="connsiteX1" fmla="*/ 0 w 337201"/>
                <a:gd name="connsiteY1" fmla="*/ 466109 h 466108"/>
                <a:gd name="connsiteX2" fmla="*/ 0 w 337201"/>
                <a:gd name="connsiteY2" fmla="*/ 232419 h 466108"/>
                <a:gd name="connsiteX3" fmla="*/ 337201 w 337201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1" h="466108">
                  <a:moveTo>
                    <a:pt x="337201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9" name="Freeform: Shape 268">
              <a:extLst>
                <a:ext uri="{FF2B5EF4-FFF2-40B4-BE49-F238E27FC236}">
                  <a16:creationId xmlns:a16="http://schemas.microsoft.com/office/drawing/2014/main" id="{3E635761-188E-4625-90AE-2D5178BA45DC}"/>
                </a:ext>
              </a:extLst>
            </p:cNvPr>
            <p:cNvSpPr/>
            <p:nvPr/>
          </p:nvSpPr>
          <p:spPr>
            <a:xfrm>
              <a:off x="10310898" y="1179242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0" name="Freeform: Shape 269">
              <a:extLst>
                <a:ext uri="{FF2B5EF4-FFF2-40B4-BE49-F238E27FC236}">
                  <a16:creationId xmlns:a16="http://schemas.microsoft.com/office/drawing/2014/main" id="{A013CB7C-B780-4CE5-9AF9-DDEB0A3F5C34}"/>
                </a:ext>
              </a:extLst>
            </p:cNvPr>
            <p:cNvSpPr/>
            <p:nvPr/>
          </p:nvSpPr>
          <p:spPr>
            <a:xfrm>
              <a:off x="10140075" y="1062397"/>
              <a:ext cx="333390" cy="463568"/>
            </a:xfrm>
            <a:custGeom>
              <a:avLst/>
              <a:gdLst>
                <a:gd name="connsiteX0" fmla="*/ 166378 w 333390"/>
                <a:gd name="connsiteY0" fmla="*/ 230514 h 463568"/>
                <a:gd name="connsiteX1" fmla="*/ 165743 w 333390"/>
                <a:gd name="connsiteY1" fmla="*/ 231149 h 463568"/>
                <a:gd name="connsiteX2" fmla="*/ 165743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0514"/>
                  </a:moveTo>
                  <a:lnTo>
                    <a:pt x="165743" y="231149"/>
                  </a:lnTo>
                  <a:lnTo>
                    <a:pt x="165743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1" name="Freeform: Shape 270">
              <a:extLst>
                <a:ext uri="{FF2B5EF4-FFF2-40B4-BE49-F238E27FC236}">
                  <a16:creationId xmlns:a16="http://schemas.microsoft.com/office/drawing/2014/main" id="{EC46F22E-EDE5-406E-AAA7-6233187D2EC7}"/>
                </a:ext>
              </a:extLst>
            </p:cNvPr>
            <p:cNvSpPr/>
            <p:nvPr/>
          </p:nvSpPr>
          <p:spPr>
            <a:xfrm>
              <a:off x="9628876" y="1298626"/>
              <a:ext cx="336565" cy="465473"/>
            </a:xfrm>
            <a:custGeom>
              <a:avLst/>
              <a:gdLst>
                <a:gd name="connsiteX0" fmla="*/ 336566 w 336565"/>
                <a:gd name="connsiteY0" fmla="*/ 231784 h 465473"/>
                <a:gd name="connsiteX1" fmla="*/ 0 w 336565"/>
                <a:gd name="connsiteY1" fmla="*/ 465474 h 465473"/>
                <a:gd name="connsiteX2" fmla="*/ 0 w 336565"/>
                <a:gd name="connsiteY2" fmla="*/ 231784 h 465473"/>
                <a:gd name="connsiteX3" fmla="*/ 336566 w 336565"/>
                <a:gd name="connsiteY3" fmla="*/ 0 h 46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5473">
                  <a:moveTo>
                    <a:pt x="336566" y="231784"/>
                  </a:moveTo>
                  <a:lnTo>
                    <a:pt x="0" y="465474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2" name="Freeform: Shape 271">
              <a:extLst>
                <a:ext uri="{FF2B5EF4-FFF2-40B4-BE49-F238E27FC236}">
                  <a16:creationId xmlns:a16="http://schemas.microsoft.com/office/drawing/2014/main" id="{0D4704EB-2CC1-462A-921E-CD5419C9E24B}"/>
                </a:ext>
              </a:extLst>
            </p:cNvPr>
            <p:cNvSpPr/>
            <p:nvPr/>
          </p:nvSpPr>
          <p:spPr>
            <a:xfrm>
              <a:off x="9630146" y="1179242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3" name="Freeform: Shape 272">
              <a:extLst>
                <a:ext uri="{FF2B5EF4-FFF2-40B4-BE49-F238E27FC236}">
                  <a16:creationId xmlns:a16="http://schemas.microsoft.com/office/drawing/2014/main" id="{92241306-BF89-4574-B30E-A1A971C89A53}"/>
                </a:ext>
              </a:extLst>
            </p:cNvPr>
            <p:cNvSpPr/>
            <p:nvPr/>
          </p:nvSpPr>
          <p:spPr>
            <a:xfrm>
              <a:off x="9459958" y="1062397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4" name="Freeform: Shape 273">
              <a:extLst>
                <a:ext uri="{FF2B5EF4-FFF2-40B4-BE49-F238E27FC236}">
                  <a16:creationId xmlns:a16="http://schemas.microsoft.com/office/drawing/2014/main" id="{1CD47B2E-C8D0-4134-9147-ECB9963C8C44}"/>
                </a:ext>
              </a:extLst>
            </p:cNvPr>
            <p:cNvSpPr/>
            <p:nvPr/>
          </p:nvSpPr>
          <p:spPr>
            <a:xfrm>
              <a:off x="8948124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5" name="Freeform: Shape 274">
              <a:extLst>
                <a:ext uri="{FF2B5EF4-FFF2-40B4-BE49-F238E27FC236}">
                  <a16:creationId xmlns:a16="http://schemas.microsoft.com/office/drawing/2014/main" id="{092E866A-9225-4A8A-BEB7-F5E6E8C1869A}"/>
                </a:ext>
              </a:extLst>
            </p:cNvPr>
            <p:cNvSpPr/>
            <p:nvPr/>
          </p:nvSpPr>
          <p:spPr>
            <a:xfrm>
              <a:off x="8949395" y="1179242"/>
              <a:ext cx="334025" cy="231149"/>
            </a:xfrm>
            <a:custGeom>
              <a:avLst/>
              <a:gdLst>
                <a:gd name="connsiteX0" fmla="*/ 165743 w 334025"/>
                <a:gd name="connsiteY0" fmla="*/ 231149 h 231149"/>
                <a:gd name="connsiteX1" fmla="*/ 0 w 334025"/>
                <a:gd name="connsiteY1" fmla="*/ 115575 h 231149"/>
                <a:gd name="connsiteX2" fmla="*/ 165743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6" name="Freeform: Shape 275">
              <a:extLst>
                <a:ext uri="{FF2B5EF4-FFF2-40B4-BE49-F238E27FC236}">
                  <a16:creationId xmlns:a16="http://schemas.microsoft.com/office/drawing/2014/main" id="{09B61E4C-45CC-43BA-90D7-AB847D38D22F}"/>
                </a:ext>
              </a:extLst>
            </p:cNvPr>
            <p:cNvSpPr/>
            <p:nvPr/>
          </p:nvSpPr>
          <p:spPr>
            <a:xfrm>
              <a:off x="8779207" y="1062397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7" name="Freeform: Shape 276">
              <a:extLst>
                <a:ext uri="{FF2B5EF4-FFF2-40B4-BE49-F238E27FC236}">
                  <a16:creationId xmlns:a16="http://schemas.microsoft.com/office/drawing/2014/main" id="{9EE45501-7DCF-46F9-BA13-A83F9FB43407}"/>
                </a:ext>
              </a:extLst>
            </p:cNvPr>
            <p:cNvSpPr/>
            <p:nvPr/>
          </p:nvSpPr>
          <p:spPr>
            <a:xfrm>
              <a:off x="8267372" y="1298626"/>
              <a:ext cx="336565" cy="465473"/>
            </a:xfrm>
            <a:custGeom>
              <a:avLst/>
              <a:gdLst>
                <a:gd name="connsiteX0" fmla="*/ 336566 w 336565"/>
                <a:gd name="connsiteY0" fmla="*/ 231784 h 465473"/>
                <a:gd name="connsiteX1" fmla="*/ 0 w 336565"/>
                <a:gd name="connsiteY1" fmla="*/ 465474 h 465473"/>
                <a:gd name="connsiteX2" fmla="*/ 0 w 336565"/>
                <a:gd name="connsiteY2" fmla="*/ 231784 h 465473"/>
                <a:gd name="connsiteX3" fmla="*/ 336566 w 336565"/>
                <a:gd name="connsiteY3" fmla="*/ 0 h 46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5473">
                  <a:moveTo>
                    <a:pt x="336566" y="231784"/>
                  </a:moveTo>
                  <a:lnTo>
                    <a:pt x="0" y="465474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8" name="Freeform: Shape 277">
              <a:extLst>
                <a:ext uri="{FF2B5EF4-FFF2-40B4-BE49-F238E27FC236}">
                  <a16:creationId xmlns:a16="http://schemas.microsoft.com/office/drawing/2014/main" id="{C2974C81-C3B4-4067-885A-EC5F81D45CD4}"/>
                </a:ext>
              </a:extLst>
            </p:cNvPr>
            <p:cNvSpPr/>
            <p:nvPr/>
          </p:nvSpPr>
          <p:spPr>
            <a:xfrm>
              <a:off x="8268643" y="1179242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9" name="Freeform: Shape 278">
              <a:extLst>
                <a:ext uri="{FF2B5EF4-FFF2-40B4-BE49-F238E27FC236}">
                  <a16:creationId xmlns:a16="http://schemas.microsoft.com/office/drawing/2014/main" id="{680B1282-20E7-4731-B2CD-7C7DF50BDA07}"/>
                </a:ext>
              </a:extLst>
            </p:cNvPr>
            <p:cNvSpPr/>
            <p:nvPr/>
          </p:nvSpPr>
          <p:spPr>
            <a:xfrm>
              <a:off x="8098455" y="1062397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78C85A5E-7E0D-47FB-A598-6F70F9891DB7}"/>
                </a:ext>
              </a:extLst>
            </p:cNvPr>
            <p:cNvSpPr/>
            <p:nvPr/>
          </p:nvSpPr>
          <p:spPr>
            <a:xfrm>
              <a:off x="7586621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1" name="Freeform: Shape 280">
              <a:extLst>
                <a:ext uri="{FF2B5EF4-FFF2-40B4-BE49-F238E27FC236}">
                  <a16:creationId xmlns:a16="http://schemas.microsoft.com/office/drawing/2014/main" id="{6CABB3E5-402A-4B25-9D9A-FD54CA7A36F2}"/>
                </a:ext>
              </a:extLst>
            </p:cNvPr>
            <p:cNvSpPr/>
            <p:nvPr/>
          </p:nvSpPr>
          <p:spPr>
            <a:xfrm>
              <a:off x="7587891" y="1179242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0C542B77-63FE-418B-A1A0-9978155FBDCE}"/>
                </a:ext>
              </a:extLst>
            </p:cNvPr>
            <p:cNvSpPr/>
            <p:nvPr/>
          </p:nvSpPr>
          <p:spPr>
            <a:xfrm>
              <a:off x="7417703" y="1062397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3" name="Freeform: Shape 282">
              <a:extLst>
                <a:ext uri="{FF2B5EF4-FFF2-40B4-BE49-F238E27FC236}">
                  <a16:creationId xmlns:a16="http://schemas.microsoft.com/office/drawing/2014/main" id="{32DF6234-64A4-4B88-8EF7-9A539C72ABD2}"/>
                </a:ext>
              </a:extLst>
            </p:cNvPr>
            <p:cNvSpPr/>
            <p:nvPr/>
          </p:nvSpPr>
          <p:spPr>
            <a:xfrm>
              <a:off x="6905869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4" name="Freeform: Shape 283">
              <a:extLst>
                <a:ext uri="{FF2B5EF4-FFF2-40B4-BE49-F238E27FC236}">
                  <a16:creationId xmlns:a16="http://schemas.microsoft.com/office/drawing/2014/main" id="{C54CCAC2-A35C-4AB0-8A64-4968297D3AD6}"/>
                </a:ext>
              </a:extLst>
            </p:cNvPr>
            <p:cNvSpPr/>
            <p:nvPr/>
          </p:nvSpPr>
          <p:spPr>
            <a:xfrm>
              <a:off x="6907139" y="1179242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5" name="Freeform: Shape 284">
              <a:extLst>
                <a:ext uri="{FF2B5EF4-FFF2-40B4-BE49-F238E27FC236}">
                  <a16:creationId xmlns:a16="http://schemas.microsoft.com/office/drawing/2014/main" id="{1D96D526-5571-48C4-A259-68DB0A45051D}"/>
                </a:ext>
              </a:extLst>
            </p:cNvPr>
            <p:cNvSpPr/>
            <p:nvPr/>
          </p:nvSpPr>
          <p:spPr>
            <a:xfrm>
              <a:off x="6736951" y="1062397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6" name="Freeform: Shape 285">
              <a:extLst>
                <a:ext uri="{FF2B5EF4-FFF2-40B4-BE49-F238E27FC236}">
                  <a16:creationId xmlns:a16="http://schemas.microsoft.com/office/drawing/2014/main" id="{240058E2-1BD2-4B3C-B2E7-D838D04B2CA2}"/>
                </a:ext>
              </a:extLst>
            </p:cNvPr>
            <p:cNvSpPr/>
            <p:nvPr/>
          </p:nvSpPr>
          <p:spPr>
            <a:xfrm>
              <a:off x="6225117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7" name="Freeform: Shape 286">
              <a:extLst>
                <a:ext uri="{FF2B5EF4-FFF2-40B4-BE49-F238E27FC236}">
                  <a16:creationId xmlns:a16="http://schemas.microsoft.com/office/drawing/2014/main" id="{959E3BF7-64ED-4426-AC4E-6731927E7617}"/>
                </a:ext>
              </a:extLst>
            </p:cNvPr>
            <p:cNvSpPr/>
            <p:nvPr/>
          </p:nvSpPr>
          <p:spPr>
            <a:xfrm>
              <a:off x="6226387" y="1179242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8" name="Freeform: Shape 287">
              <a:extLst>
                <a:ext uri="{FF2B5EF4-FFF2-40B4-BE49-F238E27FC236}">
                  <a16:creationId xmlns:a16="http://schemas.microsoft.com/office/drawing/2014/main" id="{8F54D794-6812-4314-AD84-B2E78A4AA269}"/>
                </a:ext>
              </a:extLst>
            </p:cNvPr>
            <p:cNvSpPr/>
            <p:nvPr/>
          </p:nvSpPr>
          <p:spPr>
            <a:xfrm>
              <a:off x="6056199" y="1062397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9" name="Freeform: Shape 288">
              <a:extLst>
                <a:ext uri="{FF2B5EF4-FFF2-40B4-BE49-F238E27FC236}">
                  <a16:creationId xmlns:a16="http://schemas.microsoft.com/office/drawing/2014/main" id="{12D4095E-CC9A-43A8-B97D-B8AB56121FB3}"/>
                </a:ext>
              </a:extLst>
            </p:cNvPr>
            <p:cNvSpPr/>
            <p:nvPr userDrawn="1"/>
          </p:nvSpPr>
          <p:spPr>
            <a:xfrm>
              <a:off x="10989745" y="3190367"/>
              <a:ext cx="337200" cy="702973"/>
            </a:xfrm>
            <a:custGeom>
              <a:avLst/>
              <a:gdLst>
                <a:gd name="connsiteX0" fmla="*/ 0 w 337200"/>
                <a:gd name="connsiteY0" fmla="*/ 468649 h 702973"/>
                <a:gd name="connsiteX1" fmla="*/ 0 w 337200"/>
                <a:gd name="connsiteY1" fmla="*/ 0 h 702973"/>
                <a:gd name="connsiteX2" fmla="*/ 168283 w 337200"/>
                <a:gd name="connsiteY2" fmla="*/ 116845 h 702973"/>
                <a:gd name="connsiteX3" fmla="*/ 168283 w 337200"/>
                <a:gd name="connsiteY3" fmla="*/ 351804 h 702973"/>
                <a:gd name="connsiteX4" fmla="*/ 337201 w 337200"/>
                <a:gd name="connsiteY4" fmla="*/ 468649 h 702973"/>
                <a:gd name="connsiteX5" fmla="*/ 337201 w 337200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973">
                  <a:moveTo>
                    <a:pt x="0" y="468649"/>
                  </a:moveTo>
                  <a:lnTo>
                    <a:pt x="0" y="0"/>
                  </a:lnTo>
                  <a:lnTo>
                    <a:pt x="168283" y="116845"/>
                  </a:lnTo>
                  <a:lnTo>
                    <a:pt x="168283" y="351804"/>
                  </a:lnTo>
                  <a:lnTo>
                    <a:pt x="337201" y="468649"/>
                  </a:lnTo>
                  <a:lnTo>
                    <a:pt x="337201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0" name="Freeform: Shape 289">
              <a:extLst>
                <a:ext uri="{FF2B5EF4-FFF2-40B4-BE49-F238E27FC236}">
                  <a16:creationId xmlns:a16="http://schemas.microsoft.com/office/drawing/2014/main" id="{B12A6A38-0654-478A-A931-1CF9A44B5FB1}"/>
                </a:ext>
              </a:extLst>
            </p:cNvPr>
            <p:cNvSpPr/>
            <p:nvPr/>
          </p:nvSpPr>
          <p:spPr>
            <a:xfrm>
              <a:off x="11330121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1" name="Freeform: Shape 290">
              <a:extLst>
                <a:ext uri="{FF2B5EF4-FFF2-40B4-BE49-F238E27FC236}">
                  <a16:creationId xmlns:a16="http://schemas.microsoft.com/office/drawing/2014/main" id="{19A9F654-709E-42A1-BBBA-A54688DB4E39}"/>
                </a:ext>
              </a:extLst>
            </p:cNvPr>
            <p:cNvSpPr/>
            <p:nvPr/>
          </p:nvSpPr>
          <p:spPr>
            <a:xfrm>
              <a:off x="11331391" y="3307847"/>
              <a:ext cx="334025" cy="231149"/>
            </a:xfrm>
            <a:custGeom>
              <a:avLst/>
              <a:gdLst>
                <a:gd name="connsiteX0" fmla="*/ 166377 w 334025"/>
                <a:gd name="connsiteY0" fmla="*/ 231149 h 231149"/>
                <a:gd name="connsiteX1" fmla="*/ 0 w 334025"/>
                <a:gd name="connsiteY1" fmla="*/ 115574 h 231149"/>
                <a:gd name="connsiteX2" fmla="*/ 166377 w 334025"/>
                <a:gd name="connsiteY2" fmla="*/ 0 h 231149"/>
                <a:gd name="connsiteX3" fmla="*/ 334025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7" y="231149"/>
                  </a:moveTo>
                  <a:lnTo>
                    <a:pt x="0" y="115574"/>
                  </a:lnTo>
                  <a:lnTo>
                    <a:pt x="166377" y="0"/>
                  </a:lnTo>
                  <a:lnTo>
                    <a:pt x="334025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2" name="Freeform: Shape 291">
              <a:extLst>
                <a:ext uri="{FF2B5EF4-FFF2-40B4-BE49-F238E27FC236}">
                  <a16:creationId xmlns:a16="http://schemas.microsoft.com/office/drawing/2014/main" id="{CFD0CCE2-EF48-427C-9F99-EBAAB8641F3B}"/>
                </a:ext>
              </a:extLst>
            </p:cNvPr>
            <p:cNvSpPr/>
            <p:nvPr/>
          </p:nvSpPr>
          <p:spPr>
            <a:xfrm>
              <a:off x="11161203" y="3191002"/>
              <a:ext cx="333390" cy="463568"/>
            </a:xfrm>
            <a:custGeom>
              <a:avLst/>
              <a:gdLst>
                <a:gd name="connsiteX0" fmla="*/ 166377 w 333390"/>
                <a:gd name="connsiteY0" fmla="*/ 231149 h 463568"/>
                <a:gd name="connsiteX1" fmla="*/ 165743 w 333390"/>
                <a:gd name="connsiteY1" fmla="*/ 231784 h 463568"/>
                <a:gd name="connsiteX2" fmla="*/ 165743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7" y="231149"/>
                  </a:moveTo>
                  <a:lnTo>
                    <a:pt x="165743" y="231784"/>
                  </a:lnTo>
                  <a:lnTo>
                    <a:pt x="165743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3" name="Freeform: Shape 292">
              <a:extLst>
                <a:ext uri="{FF2B5EF4-FFF2-40B4-BE49-F238E27FC236}">
                  <a16:creationId xmlns:a16="http://schemas.microsoft.com/office/drawing/2014/main" id="{D6F113D6-755E-4281-9986-739A705A355C}"/>
                </a:ext>
              </a:extLst>
            </p:cNvPr>
            <p:cNvSpPr/>
            <p:nvPr userDrawn="1"/>
          </p:nvSpPr>
          <p:spPr>
            <a:xfrm>
              <a:off x="10991650" y="2952868"/>
              <a:ext cx="673766" cy="351168"/>
            </a:xfrm>
            <a:custGeom>
              <a:avLst/>
              <a:gdLst>
                <a:gd name="connsiteX0" fmla="*/ 337836 w 673766"/>
                <a:gd name="connsiteY0" fmla="*/ 234324 h 351168"/>
                <a:gd name="connsiteX1" fmla="*/ 336566 w 673766"/>
                <a:gd name="connsiteY1" fmla="*/ 233689 h 351168"/>
                <a:gd name="connsiteX2" fmla="*/ 167647 w 673766"/>
                <a:gd name="connsiteY2" fmla="*/ 351169 h 351168"/>
                <a:gd name="connsiteX3" fmla="*/ 0 w 673766"/>
                <a:gd name="connsiteY3" fmla="*/ 234324 h 351168"/>
                <a:gd name="connsiteX4" fmla="*/ 336566 w 673766"/>
                <a:gd name="connsiteY4" fmla="*/ 0 h 351168"/>
                <a:gd name="connsiteX5" fmla="*/ 673766 w 673766"/>
                <a:gd name="connsiteY5" fmla="*/ 234324 h 351168"/>
                <a:gd name="connsiteX6" fmla="*/ 506118 w 673766"/>
                <a:gd name="connsiteY6" fmla="*/ 35053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324"/>
                  </a:moveTo>
                  <a:lnTo>
                    <a:pt x="336566" y="233689"/>
                  </a:lnTo>
                  <a:lnTo>
                    <a:pt x="167647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lnTo>
                    <a:pt x="506118" y="35053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4" name="Freeform: Shape 293">
              <a:extLst>
                <a:ext uri="{FF2B5EF4-FFF2-40B4-BE49-F238E27FC236}">
                  <a16:creationId xmlns:a16="http://schemas.microsoft.com/office/drawing/2014/main" id="{288D58B7-DB17-4A8B-94E1-CC68C3FB8024}"/>
                </a:ext>
              </a:extLst>
            </p:cNvPr>
            <p:cNvSpPr/>
            <p:nvPr/>
          </p:nvSpPr>
          <p:spPr>
            <a:xfrm>
              <a:off x="11160568" y="2481044"/>
              <a:ext cx="165742" cy="229244"/>
            </a:xfrm>
            <a:custGeom>
              <a:avLst/>
              <a:gdLst>
                <a:gd name="connsiteX0" fmla="*/ 0 w 165742"/>
                <a:gd name="connsiteY0" fmla="*/ 114939 h 229244"/>
                <a:gd name="connsiteX1" fmla="*/ 165743 w 165742"/>
                <a:gd name="connsiteY1" fmla="*/ 0 h 229244"/>
                <a:gd name="connsiteX2" fmla="*/ 165743 w 165742"/>
                <a:gd name="connsiteY2" fmla="*/ 229244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0" y="114939"/>
                  </a:moveTo>
                  <a:lnTo>
                    <a:pt x="165743" y="0"/>
                  </a:lnTo>
                  <a:lnTo>
                    <a:pt x="165743" y="22924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5" name="Freeform: Shape 294">
              <a:extLst>
                <a:ext uri="{FF2B5EF4-FFF2-40B4-BE49-F238E27FC236}">
                  <a16:creationId xmlns:a16="http://schemas.microsoft.com/office/drawing/2014/main" id="{E8EB7E8E-9AC5-4207-B9FA-AA323C470FD7}"/>
                </a:ext>
              </a:extLst>
            </p:cNvPr>
            <p:cNvSpPr/>
            <p:nvPr/>
          </p:nvSpPr>
          <p:spPr>
            <a:xfrm>
              <a:off x="10989745" y="1771720"/>
              <a:ext cx="337200" cy="702338"/>
            </a:xfrm>
            <a:custGeom>
              <a:avLst/>
              <a:gdLst>
                <a:gd name="connsiteX0" fmla="*/ 0 w 337200"/>
                <a:gd name="connsiteY0" fmla="*/ 468014 h 702338"/>
                <a:gd name="connsiteX1" fmla="*/ 0 w 337200"/>
                <a:gd name="connsiteY1" fmla="*/ 0 h 702338"/>
                <a:gd name="connsiteX2" fmla="*/ 168283 w 337200"/>
                <a:gd name="connsiteY2" fmla="*/ 116210 h 702338"/>
                <a:gd name="connsiteX3" fmla="*/ 168283 w 337200"/>
                <a:gd name="connsiteY3" fmla="*/ 351169 h 702338"/>
                <a:gd name="connsiteX4" fmla="*/ 337201 w 337200"/>
                <a:gd name="connsiteY4" fmla="*/ 468649 h 702338"/>
                <a:gd name="connsiteX5" fmla="*/ 337201 w 337200"/>
                <a:gd name="connsiteY5" fmla="*/ 702338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8">
                  <a:moveTo>
                    <a:pt x="0" y="468014"/>
                  </a:moveTo>
                  <a:lnTo>
                    <a:pt x="0" y="0"/>
                  </a:lnTo>
                  <a:lnTo>
                    <a:pt x="168283" y="116210"/>
                  </a:ln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6" name="Freeform: Shape 295">
              <a:extLst>
                <a:ext uri="{FF2B5EF4-FFF2-40B4-BE49-F238E27FC236}">
                  <a16:creationId xmlns:a16="http://schemas.microsoft.com/office/drawing/2014/main" id="{FA0DACF7-07A8-49A1-94EA-BB4318E13B87}"/>
                </a:ext>
              </a:extLst>
            </p:cNvPr>
            <p:cNvSpPr/>
            <p:nvPr/>
          </p:nvSpPr>
          <p:spPr>
            <a:xfrm>
              <a:off x="11330121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7" name="Freeform: Shape 296">
              <a:extLst>
                <a:ext uri="{FF2B5EF4-FFF2-40B4-BE49-F238E27FC236}">
                  <a16:creationId xmlns:a16="http://schemas.microsoft.com/office/drawing/2014/main" id="{97B55E4B-5A47-4648-A4B4-F8B8100F7CF4}"/>
                </a:ext>
              </a:extLst>
            </p:cNvPr>
            <p:cNvSpPr/>
            <p:nvPr/>
          </p:nvSpPr>
          <p:spPr>
            <a:xfrm>
              <a:off x="11332026" y="1888565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8" name="Freeform: Shape 297">
              <a:extLst>
                <a:ext uri="{FF2B5EF4-FFF2-40B4-BE49-F238E27FC236}">
                  <a16:creationId xmlns:a16="http://schemas.microsoft.com/office/drawing/2014/main" id="{2D35E042-5FDC-4D40-9460-DB46EF1984D9}"/>
                </a:ext>
              </a:extLst>
            </p:cNvPr>
            <p:cNvSpPr/>
            <p:nvPr/>
          </p:nvSpPr>
          <p:spPr>
            <a:xfrm>
              <a:off x="11161203" y="1771720"/>
              <a:ext cx="333390" cy="463568"/>
            </a:xfrm>
            <a:custGeom>
              <a:avLst/>
              <a:gdLst>
                <a:gd name="connsiteX0" fmla="*/ 166377 w 333390"/>
                <a:gd name="connsiteY0" fmla="*/ 231149 h 463568"/>
                <a:gd name="connsiteX1" fmla="*/ 165743 w 333390"/>
                <a:gd name="connsiteY1" fmla="*/ 231784 h 463568"/>
                <a:gd name="connsiteX2" fmla="*/ 165743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7" y="231149"/>
                  </a:moveTo>
                  <a:lnTo>
                    <a:pt x="165743" y="231784"/>
                  </a:lnTo>
                  <a:lnTo>
                    <a:pt x="165743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353C1B0E-0D87-4024-A2D3-7B16F275421F}"/>
                </a:ext>
              </a:extLst>
            </p:cNvPr>
            <p:cNvSpPr/>
            <p:nvPr/>
          </p:nvSpPr>
          <p:spPr>
            <a:xfrm>
              <a:off x="10991650" y="1533586"/>
              <a:ext cx="673766" cy="351168"/>
            </a:xfrm>
            <a:custGeom>
              <a:avLst/>
              <a:gdLst>
                <a:gd name="connsiteX0" fmla="*/ 337836 w 673766"/>
                <a:gd name="connsiteY0" fmla="*/ 234324 h 351168"/>
                <a:gd name="connsiteX1" fmla="*/ 336566 w 673766"/>
                <a:gd name="connsiteY1" fmla="*/ 233689 h 351168"/>
                <a:gd name="connsiteX2" fmla="*/ 167647 w 673766"/>
                <a:gd name="connsiteY2" fmla="*/ 351169 h 351168"/>
                <a:gd name="connsiteX3" fmla="*/ 0 w 673766"/>
                <a:gd name="connsiteY3" fmla="*/ 234324 h 351168"/>
                <a:gd name="connsiteX4" fmla="*/ 336566 w 673766"/>
                <a:gd name="connsiteY4" fmla="*/ 0 h 351168"/>
                <a:gd name="connsiteX5" fmla="*/ 673766 w 673766"/>
                <a:gd name="connsiteY5" fmla="*/ 234324 h 351168"/>
                <a:gd name="connsiteX6" fmla="*/ 506118 w 673766"/>
                <a:gd name="connsiteY6" fmla="*/ 35053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324"/>
                  </a:moveTo>
                  <a:lnTo>
                    <a:pt x="336566" y="233689"/>
                  </a:lnTo>
                  <a:lnTo>
                    <a:pt x="167647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lnTo>
                    <a:pt x="506118" y="35053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0" name="Freeform: Shape 299">
              <a:extLst>
                <a:ext uri="{FF2B5EF4-FFF2-40B4-BE49-F238E27FC236}">
                  <a16:creationId xmlns:a16="http://schemas.microsoft.com/office/drawing/2014/main" id="{1208F0FD-CB69-4D4C-B21E-5748A3029F4D}"/>
                </a:ext>
              </a:extLst>
            </p:cNvPr>
            <p:cNvSpPr/>
            <p:nvPr/>
          </p:nvSpPr>
          <p:spPr>
            <a:xfrm>
              <a:off x="11160568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1" name="Freeform: Shape 300">
              <a:extLst>
                <a:ext uri="{FF2B5EF4-FFF2-40B4-BE49-F238E27FC236}">
                  <a16:creationId xmlns:a16="http://schemas.microsoft.com/office/drawing/2014/main" id="{EA306DBC-4A6E-40F1-8A3C-F4BA4B73F445}"/>
                </a:ext>
              </a:extLst>
            </p:cNvPr>
            <p:cNvSpPr/>
            <p:nvPr/>
          </p:nvSpPr>
          <p:spPr>
            <a:xfrm>
              <a:off x="10479816" y="1061762"/>
              <a:ext cx="166377" cy="229244"/>
            </a:xfrm>
            <a:custGeom>
              <a:avLst/>
              <a:gdLst>
                <a:gd name="connsiteX0" fmla="*/ 166378 w 166377"/>
                <a:gd name="connsiteY0" fmla="*/ 229244 h 229244"/>
                <a:gd name="connsiteX1" fmla="*/ 0 w 166377"/>
                <a:gd name="connsiteY1" fmla="*/ 114940 h 229244"/>
                <a:gd name="connsiteX2" fmla="*/ 166378 w 166377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244">
                  <a:moveTo>
                    <a:pt x="166378" y="229244"/>
                  </a:moveTo>
                  <a:lnTo>
                    <a:pt x="0" y="114940"/>
                  </a:lnTo>
                  <a:lnTo>
                    <a:pt x="166378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2" name="Freeform: Shape 301">
              <a:extLst>
                <a:ext uri="{FF2B5EF4-FFF2-40B4-BE49-F238E27FC236}">
                  <a16:creationId xmlns:a16="http://schemas.microsoft.com/office/drawing/2014/main" id="{70C0CD80-1873-48B5-95AF-529A9754991F}"/>
                </a:ext>
              </a:extLst>
            </p:cNvPr>
            <p:cNvSpPr/>
            <p:nvPr/>
          </p:nvSpPr>
          <p:spPr>
            <a:xfrm>
              <a:off x="9799699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3" name="Freeform: Shape 302">
              <a:extLst>
                <a:ext uri="{FF2B5EF4-FFF2-40B4-BE49-F238E27FC236}">
                  <a16:creationId xmlns:a16="http://schemas.microsoft.com/office/drawing/2014/main" id="{377B49AE-C42C-4EA0-930C-C00692BCED13}"/>
                </a:ext>
              </a:extLst>
            </p:cNvPr>
            <p:cNvSpPr/>
            <p:nvPr/>
          </p:nvSpPr>
          <p:spPr>
            <a:xfrm>
              <a:off x="9118948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4" name="Freeform: Shape 303">
              <a:extLst>
                <a:ext uri="{FF2B5EF4-FFF2-40B4-BE49-F238E27FC236}">
                  <a16:creationId xmlns:a16="http://schemas.microsoft.com/office/drawing/2014/main" id="{76EDEDC9-4DA7-40D8-96D2-7CBA0CD5FDDE}"/>
                </a:ext>
              </a:extLst>
            </p:cNvPr>
            <p:cNvSpPr/>
            <p:nvPr/>
          </p:nvSpPr>
          <p:spPr>
            <a:xfrm>
              <a:off x="8438196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27E136DA-DD4E-496F-86CB-6E657B23CCB8}"/>
                </a:ext>
              </a:extLst>
            </p:cNvPr>
            <p:cNvSpPr/>
            <p:nvPr/>
          </p:nvSpPr>
          <p:spPr>
            <a:xfrm>
              <a:off x="7757444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6" name="Freeform: Shape 305">
              <a:extLst>
                <a:ext uri="{FF2B5EF4-FFF2-40B4-BE49-F238E27FC236}">
                  <a16:creationId xmlns:a16="http://schemas.microsoft.com/office/drawing/2014/main" id="{D02B0CB8-D8F5-456C-BAF1-2CDECFC4C3AF}"/>
                </a:ext>
              </a:extLst>
            </p:cNvPr>
            <p:cNvSpPr/>
            <p:nvPr/>
          </p:nvSpPr>
          <p:spPr>
            <a:xfrm>
              <a:off x="7076692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7" name="Freeform: Shape 306">
              <a:extLst>
                <a:ext uri="{FF2B5EF4-FFF2-40B4-BE49-F238E27FC236}">
                  <a16:creationId xmlns:a16="http://schemas.microsoft.com/office/drawing/2014/main" id="{213B9934-BED1-4524-A498-049661102B40}"/>
                </a:ext>
              </a:extLst>
            </p:cNvPr>
            <p:cNvSpPr/>
            <p:nvPr/>
          </p:nvSpPr>
          <p:spPr>
            <a:xfrm>
              <a:off x="6395940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8" name="Freeform: Shape 307">
              <a:extLst>
                <a:ext uri="{FF2B5EF4-FFF2-40B4-BE49-F238E27FC236}">
                  <a16:creationId xmlns:a16="http://schemas.microsoft.com/office/drawing/2014/main" id="{7BEB4C63-1A68-4CF2-8C24-2C5065C42B07}"/>
                </a:ext>
              </a:extLst>
            </p:cNvPr>
            <p:cNvSpPr/>
            <p:nvPr/>
          </p:nvSpPr>
          <p:spPr>
            <a:xfrm>
              <a:off x="5715188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9" name="Freeform: Shape 308">
              <a:extLst>
                <a:ext uri="{FF2B5EF4-FFF2-40B4-BE49-F238E27FC236}">
                  <a16:creationId xmlns:a16="http://schemas.microsoft.com/office/drawing/2014/main" id="{9C3BF88E-3750-45C8-A061-E715298B5ADA}"/>
                </a:ext>
              </a:extLst>
            </p:cNvPr>
            <p:cNvSpPr/>
            <p:nvPr/>
          </p:nvSpPr>
          <p:spPr>
            <a:xfrm>
              <a:off x="11500944" y="3190367"/>
              <a:ext cx="165742" cy="229879"/>
            </a:xfrm>
            <a:custGeom>
              <a:avLst/>
              <a:gdLst>
                <a:gd name="connsiteX0" fmla="*/ 0 w 165742"/>
                <a:gd name="connsiteY0" fmla="*/ 115575 h 229879"/>
                <a:gd name="connsiteX1" fmla="*/ 165743 w 165742"/>
                <a:gd name="connsiteY1" fmla="*/ 0 h 229879"/>
                <a:gd name="connsiteX2" fmla="*/ 165743 w 165742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0" y="115575"/>
                  </a:moveTo>
                  <a:lnTo>
                    <a:pt x="165743" y="0"/>
                  </a:lnTo>
                  <a:lnTo>
                    <a:pt x="165743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0" name="Freeform: Shape 309">
              <a:extLst>
                <a:ext uri="{FF2B5EF4-FFF2-40B4-BE49-F238E27FC236}">
                  <a16:creationId xmlns:a16="http://schemas.microsoft.com/office/drawing/2014/main" id="{C6FBBE5A-F397-4A06-BAAE-5C63E9F56712}"/>
                </a:ext>
              </a:extLst>
            </p:cNvPr>
            <p:cNvSpPr/>
            <p:nvPr/>
          </p:nvSpPr>
          <p:spPr>
            <a:xfrm>
              <a:off x="11500944" y="1771085"/>
              <a:ext cx="165742" cy="229879"/>
            </a:xfrm>
            <a:custGeom>
              <a:avLst/>
              <a:gdLst>
                <a:gd name="connsiteX0" fmla="*/ 0 w 165742"/>
                <a:gd name="connsiteY0" fmla="*/ 115575 h 229879"/>
                <a:gd name="connsiteX1" fmla="*/ 165743 w 165742"/>
                <a:gd name="connsiteY1" fmla="*/ 0 h 229879"/>
                <a:gd name="connsiteX2" fmla="*/ 165743 w 165742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0" y="115575"/>
                  </a:moveTo>
                  <a:lnTo>
                    <a:pt x="165743" y="0"/>
                  </a:lnTo>
                  <a:lnTo>
                    <a:pt x="165743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1" name="Freeform: Shape 310">
              <a:extLst>
                <a:ext uri="{FF2B5EF4-FFF2-40B4-BE49-F238E27FC236}">
                  <a16:creationId xmlns:a16="http://schemas.microsoft.com/office/drawing/2014/main" id="{8631E268-38E2-4993-82BD-A36EEE17F04D}"/>
                </a:ext>
              </a:extLst>
            </p:cNvPr>
            <p:cNvSpPr/>
            <p:nvPr/>
          </p:nvSpPr>
          <p:spPr>
            <a:xfrm>
              <a:off x="11671767" y="1179242"/>
              <a:ext cx="334025" cy="231149"/>
            </a:xfrm>
            <a:custGeom>
              <a:avLst/>
              <a:gdLst>
                <a:gd name="connsiteX0" fmla="*/ 166377 w 334025"/>
                <a:gd name="connsiteY0" fmla="*/ 231149 h 231149"/>
                <a:gd name="connsiteX1" fmla="*/ 0 w 334025"/>
                <a:gd name="connsiteY1" fmla="*/ 115575 h 231149"/>
                <a:gd name="connsiteX2" fmla="*/ 166377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7" y="231149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2" name="Freeform: Shape 311">
              <a:extLst>
                <a:ext uri="{FF2B5EF4-FFF2-40B4-BE49-F238E27FC236}">
                  <a16:creationId xmlns:a16="http://schemas.microsoft.com/office/drawing/2014/main" id="{28533AA8-92C8-46B1-9567-02527BACAA79}"/>
                </a:ext>
              </a:extLst>
            </p:cNvPr>
            <p:cNvSpPr/>
            <p:nvPr/>
          </p:nvSpPr>
          <p:spPr>
            <a:xfrm>
              <a:off x="11501579" y="1062397"/>
              <a:ext cx="333390" cy="463568"/>
            </a:xfrm>
            <a:custGeom>
              <a:avLst/>
              <a:gdLst>
                <a:gd name="connsiteX0" fmla="*/ 166378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3" name="Freeform: Shape 312">
              <a:extLst>
                <a:ext uri="{FF2B5EF4-FFF2-40B4-BE49-F238E27FC236}">
                  <a16:creationId xmlns:a16="http://schemas.microsoft.com/office/drawing/2014/main" id="{EAB24CC8-78E6-4CC9-A33D-D2EE7C9CF921}"/>
                </a:ext>
              </a:extLst>
            </p:cNvPr>
            <p:cNvSpPr/>
            <p:nvPr/>
          </p:nvSpPr>
          <p:spPr>
            <a:xfrm>
              <a:off x="11331391" y="824262"/>
              <a:ext cx="674401" cy="351169"/>
            </a:xfrm>
            <a:custGeom>
              <a:avLst/>
              <a:gdLst>
                <a:gd name="connsiteX0" fmla="*/ 338470 w 674401"/>
                <a:gd name="connsiteY0" fmla="*/ 234324 h 351169"/>
                <a:gd name="connsiteX1" fmla="*/ 337201 w 674401"/>
                <a:gd name="connsiteY1" fmla="*/ 233689 h 351169"/>
                <a:gd name="connsiteX2" fmla="*/ 168283 w 674401"/>
                <a:gd name="connsiteY2" fmla="*/ 351169 h 351169"/>
                <a:gd name="connsiteX3" fmla="*/ 0 w 674401"/>
                <a:gd name="connsiteY3" fmla="*/ 233689 h 351169"/>
                <a:gd name="connsiteX4" fmla="*/ 337201 w 674401"/>
                <a:gd name="connsiteY4" fmla="*/ 0 h 351169"/>
                <a:gd name="connsiteX5" fmla="*/ 674401 w 674401"/>
                <a:gd name="connsiteY5" fmla="*/ 233689 h 351169"/>
                <a:gd name="connsiteX6" fmla="*/ 506753 w 674401"/>
                <a:gd name="connsiteY6" fmla="*/ 35053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8470" y="234324"/>
                  </a:move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lnTo>
                    <a:pt x="337201" y="0"/>
                  </a:lnTo>
                  <a:lnTo>
                    <a:pt x="674401" y="233689"/>
                  </a:lnTo>
                  <a:lnTo>
                    <a:pt x="506753" y="35053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F71FF9DE-63B5-491B-9E38-500A6B3542FB}"/>
                </a:ext>
              </a:extLst>
            </p:cNvPr>
            <p:cNvSpPr/>
            <p:nvPr/>
          </p:nvSpPr>
          <p:spPr>
            <a:xfrm>
              <a:off x="11330121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38F6A2B3-20B0-4B23-8F7C-5B7C31796F5A}"/>
                </a:ext>
              </a:extLst>
            </p:cNvPr>
            <p:cNvSpPr/>
            <p:nvPr/>
          </p:nvSpPr>
          <p:spPr>
            <a:xfrm>
              <a:off x="11331391" y="469283"/>
              <a:ext cx="334025" cy="231784"/>
            </a:xfrm>
            <a:custGeom>
              <a:avLst/>
              <a:gdLst>
                <a:gd name="connsiteX0" fmla="*/ 166377 w 334025"/>
                <a:gd name="connsiteY0" fmla="*/ 231784 h 231784"/>
                <a:gd name="connsiteX1" fmla="*/ 0 w 334025"/>
                <a:gd name="connsiteY1" fmla="*/ 115575 h 231784"/>
                <a:gd name="connsiteX2" fmla="*/ 166377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7" y="231784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6" name="Freeform: Shape 315">
              <a:extLst>
                <a:ext uri="{FF2B5EF4-FFF2-40B4-BE49-F238E27FC236}">
                  <a16:creationId xmlns:a16="http://schemas.microsoft.com/office/drawing/2014/main" id="{619AF764-A941-44E8-AEF1-4D7FECBA0A40}"/>
                </a:ext>
              </a:extLst>
            </p:cNvPr>
            <p:cNvSpPr/>
            <p:nvPr/>
          </p:nvSpPr>
          <p:spPr>
            <a:xfrm>
              <a:off x="11161203" y="352439"/>
              <a:ext cx="333390" cy="464203"/>
            </a:xfrm>
            <a:custGeom>
              <a:avLst/>
              <a:gdLst>
                <a:gd name="connsiteX0" fmla="*/ 166377 w 333390"/>
                <a:gd name="connsiteY0" fmla="*/ 231149 h 464203"/>
                <a:gd name="connsiteX1" fmla="*/ 165743 w 333390"/>
                <a:gd name="connsiteY1" fmla="*/ 231784 h 464203"/>
                <a:gd name="connsiteX2" fmla="*/ 165743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6377" y="231149"/>
                  </a:moveTo>
                  <a:lnTo>
                    <a:pt x="165743" y="231784"/>
                  </a:lnTo>
                  <a:lnTo>
                    <a:pt x="165743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7" name="Freeform: Shape 316">
              <a:extLst>
                <a:ext uri="{FF2B5EF4-FFF2-40B4-BE49-F238E27FC236}">
                  <a16:creationId xmlns:a16="http://schemas.microsoft.com/office/drawing/2014/main" id="{AD9B25C9-F2B6-47EC-AEF7-81B1F4F91993}"/>
                </a:ext>
              </a:extLst>
            </p:cNvPr>
            <p:cNvSpPr/>
            <p:nvPr/>
          </p:nvSpPr>
          <p:spPr>
            <a:xfrm>
              <a:off x="10649369" y="588668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0 w 337200"/>
                <a:gd name="connsiteY1" fmla="*/ 466109 h 466108"/>
                <a:gd name="connsiteX2" fmla="*/ 0 w 337200"/>
                <a:gd name="connsiteY2" fmla="*/ 232419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C85E8ED8-8E8F-4A34-B38A-6943F1CFFFE6}"/>
                </a:ext>
              </a:extLst>
            </p:cNvPr>
            <p:cNvSpPr/>
            <p:nvPr/>
          </p:nvSpPr>
          <p:spPr>
            <a:xfrm>
              <a:off x="10651274" y="469283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0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0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id="{F1DD2135-868C-4A52-B10A-DCC4100F5FE7}"/>
                </a:ext>
              </a:extLst>
            </p:cNvPr>
            <p:cNvSpPr/>
            <p:nvPr/>
          </p:nvSpPr>
          <p:spPr>
            <a:xfrm>
              <a:off x="10480451" y="352439"/>
              <a:ext cx="333390" cy="464203"/>
            </a:xfrm>
            <a:custGeom>
              <a:avLst/>
              <a:gdLst>
                <a:gd name="connsiteX0" fmla="*/ 166378 w 333390"/>
                <a:gd name="connsiteY0" fmla="*/ 231149 h 464203"/>
                <a:gd name="connsiteX1" fmla="*/ 165743 w 333390"/>
                <a:gd name="connsiteY1" fmla="*/ 231784 h 464203"/>
                <a:gd name="connsiteX2" fmla="*/ 165743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6378" y="231149"/>
                  </a:moveTo>
                  <a:lnTo>
                    <a:pt x="165743" y="231784"/>
                  </a:lnTo>
                  <a:lnTo>
                    <a:pt x="165743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0" name="Freeform: Shape 319">
              <a:extLst>
                <a:ext uri="{FF2B5EF4-FFF2-40B4-BE49-F238E27FC236}">
                  <a16:creationId xmlns:a16="http://schemas.microsoft.com/office/drawing/2014/main" id="{1D8467DC-9828-478B-A9D8-CD3DF612D027}"/>
                </a:ext>
              </a:extLst>
            </p:cNvPr>
            <p:cNvSpPr/>
            <p:nvPr/>
          </p:nvSpPr>
          <p:spPr>
            <a:xfrm>
              <a:off x="9968617" y="588668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635 w 337200"/>
                <a:gd name="connsiteY1" fmla="*/ 466109 h 466108"/>
                <a:gd name="connsiteX2" fmla="*/ 0 w 337200"/>
                <a:gd name="connsiteY2" fmla="*/ 232419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635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1" name="Freeform: Shape 320">
              <a:extLst>
                <a:ext uri="{FF2B5EF4-FFF2-40B4-BE49-F238E27FC236}">
                  <a16:creationId xmlns:a16="http://schemas.microsoft.com/office/drawing/2014/main" id="{01C9BBF7-8F50-42C1-AC9D-783DF95871F8}"/>
                </a:ext>
              </a:extLst>
            </p:cNvPr>
            <p:cNvSpPr/>
            <p:nvPr/>
          </p:nvSpPr>
          <p:spPr>
            <a:xfrm>
              <a:off x="9970522" y="469283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BA205240-8FAD-4B1B-9D10-7D0DD93F71BE}"/>
                </a:ext>
              </a:extLst>
            </p:cNvPr>
            <p:cNvSpPr/>
            <p:nvPr/>
          </p:nvSpPr>
          <p:spPr>
            <a:xfrm>
              <a:off x="9800334" y="352439"/>
              <a:ext cx="332755" cy="464203"/>
            </a:xfrm>
            <a:custGeom>
              <a:avLst/>
              <a:gdLst>
                <a:gd name="connsiteX0" fmla="*/ 165743 w 332755"/>
                <a:gd name="connsiteY0" fmla="*/ 231149 h 464203"/>
                <a:gd name="connsiteX1" fmla="*/ 165108 w 332755"/>
                <a:gd name="connsiteY1" fmla="*/ 231784 h 464203"/>
                <a:gd name="connsiteX2" fmla="*/ 165108 w 332755"/>
                <a:gd name="connsiteY2" fmla="*/ 464204 h 464203"/>
                <a:gd name="connsiteX3" fmla="*/ 0 w 332755"/>
                <a:gd name="connsiteY3" fmla="*/ 349264 h 464203"/>
                <a:gd name="connsiteX4" fmla="*/ 0 w 332755"/>
                <a:gd name="connsiteY4" fmla="*/ 116210 h 464203"/>
                <a:gd name="connsiteX5" fmla="*/ 167013 w 332755"/>
                <a:gd name="connsiteY5" fmla="*/ 0 h 464203"/>
                <a:gd name="connsiteX6" fmla="*/ 332755 w 332755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322A5BEE-4B57-4D0E-AF35-89AB8F8DB784}"/>
                </a:ext>
              </a:extLst>
            </p:cNvPr>
            <p:cNvSpPr/>
            <p:nvPr/>
          </p:nvSpPr>
          <p:spPr>
            <a:xfrm>
              <a:off x="9288500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5FEEC27D-23FD-4C40-A68B-D4E12CF89DDE}"/>
                </a:ext>
              </a:extLst>
            </p:cNvPr>
            <p:cNvSpPr/>
            <p:nvPr/>
          </p:nvSpPr>
          <p:spPr>
            <a:xfrm>
              <a:off x="9289770" y="469283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5" name="Freeform: Shape 324">
              <a:extLst>
                <a:ext uri="{FF2B5EF4-FFF2-40B4-BE49-F238E27FC236}">
                  <a16:creationId xmlns:a16="http://schemas.microsoft.com/office/drawing/2014/main" id="{1B0B939D-F51D-4154-AD24-9EE54D6D4C0D}"/>
                </a:ext>
              </a:extLst>
            </p:cNvPr>
            <p:cNvSpPr/>
            <p:nvPr/>
          </p:nvSpPr>
          <p:spPr>
            <a:xfrm>
              <a:off x="9119582" y="352439"/>
              <a:ext cx="332755" cy="464203"/>
            </a:xfrm>
            <a:custGeom>
              <a:avLst/>
              <a:gdLst>
                <a:gd name="connsiteX0" fmla="*/ 165743 w 332755"/>
                <a:gd name="connsiteY0" fmla="*/ 231149 h 464203"/>
                <a:gd name="connsiteX1" fmla="*/ 165108 w 332755"/>
                <a:gd name="connsiteY1" fmla="*/ 231784 h 464203"/>
                <a:gd name="connsiteX2" fmla="*/ 165108 w 332755"/>
                <a:gd name="connsiteY2" fmla="*/ 464204 h 464203"/>
                <a:gd name="connsiteX3" fmla="*/ 0 w 332755"/>
                <a:gd name="connsiteY3" fmla="*/ 349264 h 464203"/>
                <a:gd name="connsiteX4" fmla="*/ 0 w 332755"/>
                <a:gd name="connsiteY4" fmla="*/ 116210 h 464203"/>
                <a:gd name="connsiteX5" fmla="*/ 167013 w 332755"/>
                <a:gd name="connsiteY5" fmla="*/ 0 h 464203"/>
                <a:gd name="connsiteX6" fmla="*/ 332756 w 332755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6" name="Freeform: Shape 325">
              <a:extLst>
                <a:ext uri="{FF2B5EF4-FFF2-40B4-BE49-F238E27FC236}">
                  <a16:creationId xmlns:a16="http://schemas.microsoft.com/office/drawing/2014/main" id="{0CA2A3FE-25EB-47BF-BF7E-B541ABD3676D}"/>
                </a:ext>
              </a:extLst>
            </p:cNvPr>
            <p:cNvSpPr/>
            <p:nvPr/>
          </p:nvSpPr>
          <p:spPr>
            <a:xfrm>
              <a:off x="8607749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7" name="Freeform: Shape 326">
              <a:extLst>
                <a:ext uri="{FF2B5EF4-FFF2-40B4-BE49-F238E27FC236}">
                  <a16:creationId xmlns:a16="http://schemas.microsoft.com/office/drawing/2014/main" id="{5ECC458B-B22A-4FE8-8ED4-52551F8B1991}"/>
                </a:ext>
              </a:extLst>
            </p:cNvPr>
            <p:cNvSpPr/>
            <p:nvPr/>
          </p:nvSpPr>
          <p:spPr>
            <a:xfrm>
              <a:off x="8609018" y="469283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8" name="Freeform: Shape 327">
              <a:extLst>
                <a:ext uri="{FF2B5EF4-FFF2-40B4-BE49-F238E27FC236}">
                  <a16:creationId xmlns:a16="http://schemas.microsoft.com/office/drawing/2014/main" id="{DA0E7B5C-2EA2-43DD-A2A8-FB6B2968FD68}"/>
                </a:ext>
              </a:extLst>
            </p:cNvPr>
            <p:cNvSpPr/>
            <p:nvPr/>
          </p:nvSpPr>
          <p:spPr>
            <a:xfrm>
              <a:off x="8438830" y="352439"/>
              <a:ext cx="332755" cy="464203"/>
            </a:xfrm>
            <a:custGeom>
              <a:avLst/>
              <a:gdLst>
                <a:gd name="connsiteX0" fmla="*/ 165743 w 332755"/>
                <a:gd name="connsiteY0" fmla="*/ 231149 h 464203"/>
                <a:gd name="connsiteX1" fmla="*/ 165108 w 332755"/>
                <a:gd name="connsiteY1" fmla="*/ 231784 h 464203"/>
                <a:gd name="connsiteX2" fmla="*/ 165108 w 332755"/>
                <a:gd name="connsiteY2" fmla="*/ 464204 h 464203"/>
                <a:gd name="connsiteX3" fmla="*/ 0 w 332755"/>
                <a:gd name="connsiteY3" fmla="*/ 349264 h 464203"/>
                <a:gd name="connsiteX4" fmla="*/ 0 w 332755"/>
                <a:gd name="connsiteY4" fmla="*/ 116210 h 464203"/>
                <a:gd name="connsiteX5" fmla="*/ 167013 w 332755"/>
                <a:gd name="connsiteY5" fmla="*/ 0 h 464203"/>
                <a:gd name="connsiteX6" fmla="*/ 332756 w 332755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9" name="Freeform: Shape 328">
              <a:extLst>
                <a:ext uri="{FF2B5EF4-FFF2-40B4-BE49-F238E27FC236}">
                  <a16:creationId xmlns:a16="http://schemas.microsoft.com/office/drawing/2014/main" id="{8A4AD487-ED68-4120-85B8-C939A00C48FD}"/>
                </a:ext>
              </a:extLst>
            </p:cNvPr>
            <p:cNvSpPr/>
            <p:nvPr/>
          </p:nvSpPr>
          <p:spPr>
            <a:xfrm>
              <a:off x="7926997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0" name="Freeform: Shape 329">
              <a:extLst>
                <a:ext uri="{FF2B5EF4-FFF2-40B4-BE49-F238E27FC236}">
                  <a16:creationId xmlns:a16="http://schemas.microsoft.com/office/drawing/2014/main" id="{20440B16-AAB7-4181-8010-99E1D73992A8}"/>
                </a:ext>
              </a:extLst>
            </p:cNvPr>
            <p:cNvSpPr/>
            <p:nvPr/>
          </p:nvSpPr>
          <p:spPr>
            <a:xfrm>
              <a:off x="7928267" y="469283"/>
              <a:ext cx="334025" cy="231784"/>
            </a:xfrm>
            <a:custGeom>
              <a:avLst/>
              <a:gdLst>
                <a:gd name="connsiteX0" fmla="*/ 166377 w 334025"/>
                <a:gd name="connsiteY0" fmla="*/ 231784 h 231784"/>
                <a:gd name="connsiteX1" fmla="*/ 0 w 334025"/>
                <a:gd name="connsiteY1" fmla="*/ 115575 h 231784"/>
                <a:gd name="connsiteX2" fmla="*/ 166377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7" y="231784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1" name="Freeform: Shape 330">
              <a:extLst>
                <a:ext uri="{FF2B5EF4-FFF2-40B4-BE49-F238E27FC236}">
                  <a16:creationId xmlns:a16="http://schemas.microsoft.com/office/drawing/2014/main" id="{BBDBE921-3C27-4DD6-95A6-008B42B1DAD7}"/>
                </a:ext>
              </a:extLst>
            </p:cNvPr>
            <p:cNvSpPr/>
            <p:nvPr/>
          </p:nvSpPr>
          <p:spPr>
            <a:xfrm>
              <a:off x="7758079" y="352439"/>
              <a:ext cx="333390" cy="464203"/>
            </a:xfrm>
            <a:custGeom>
              <a:avLst/>
              <a:gdLst>
                <a:gd name="connsiteX0" fmla="*/ 165743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2" name="Freeform: Shape 331">
              <a:extLst>
                <a:ext uri="{FF2B5EF4-FFF2-40B4-BE49-F238E27FC236}">
                  <a16:creationId xmlns:a16="http://schemas.microsoft.com/office/drawing/2014/main" id="{2C7BA4D6-8553-4B07-8C99-5F4CF1C1E08E}"/>
                </a:ext>
              </a:extLst>
            </p:cNvPr>
            <p:cNvSpPr/>
            <p:nvPr/>
          </p:nvSpPr>
          <p:spPr>
            <a:xfrm>
              <a:off x="7246245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607DF843-BD19-4F36-803A-B2D1E2F53A4D}"/>
                </a:ext>
              </a:extLst>
            </p:cNvPr>
            <p:cNvSpPr/>
            <p:nvPr/>
          </p:nvSpPr>
          <p:spPr>
            <a:xfrm>
              <a:off x="7247515" y="469283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4" name="Freeform: Shape 333">
              <a:extLst>
                <a:ext uri="{FF2B5EF4-FFF2-40B4-BE49-F238E27FC236}">
                  <a16:creationId xmlns:a16="http://schemas.microsoft.com/office/drawing/2014/main" id="{A244F2A2-47F2-4F26-B8B3-083FF159DB37}"/>
                </a:ext>
              </a:extLst>
            </p:cNvPr>
            <p:cNvSpPr/>
            <p:nvPr/>
          </p:nvSpPr>
          <p:spPr>
            <a:xfrm>
              <a:off x="7077327" y="352439"/>
              <a:ext cx="333390" cy="464203"/>
            </a:xfrm>
            <a:custGeom>
              <a:avLst/>
              <a:gdLst>
                <a:gd name="connsiteX0" fmla="*/ 165743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5" name="Freeform: Shape 334">
              <a:extLst>
                <a:ext uri="{FF2B5EF4-FFF2-40B4-BE49-F238E27FC236}">
                  <a16:creationId xmlns:a16="http://schemas.microsoft.com/office/drawing/2014/main" id="{14825A9D-8EC5-4CF7-843E-03DA8BD8CFC7}"/>
                </a:ext>
              </a:extLst>
            </p:cNvPr>
            <p:cNvSpPr/>
            <p:nvPr/>
          </p:nvSpPr>
          <p:spPr>
            <a:xfrm>
              <a:off x="6565493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6" name="Freeform: Shape 335">
              <a:extLst>
                <a:ext uri="{FF2B5EF4-FFF2-40B4-BE49-F238E27FC236}">
                  <a16:creationId xmlns:a16="http://schemas.microsoft.com/office/drawing/2014/main" id="{2BDA321A-68DA-48D8-94DC-D2A114EC17FB}"/>
                </a:ext>
              </a:extLst>
            </p:cNvPr>
            <p:cNvSpPr/>
            <p:nvPr/>
          </p:nvSpPr>
          <p:spPr>
            <a:xfrm>
              <a:off x="6566763" y="469283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58F5EE14-50AD-4C48-B5AF-19129C00B31F}"/>
                </a:ext>
              </a:extLst>
            </p:cNvPr>
            <p:cNvSpPr/>
            <p:nvPr/>
          </p:nvSpPr>
          <p:spPr>
            <a:xfrm>
              <a:off x="6396575" y="352439"/>
              <a:ext cx="333390" cy="464203"/>
            </a:xfrm>
            <a:custGeom>
              <a:avLst/>
              <a:gdLst>
                <a:gd name="connsiteX0" fmla="*/ 165743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705B77C8-5815-4FF6-9FD0-5E6D3D6285D5}"/>
                </a:ext>
              </a:extLst>
            </p:cNvPr>
            <p:cNvSpPr/>
            <p:nvPr/>
          </p:nvSpPr>
          <p:spPr>
            <a:xfrm>
              <a:off x="5884741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27F4AA98-C6A3-41D0-A117-5F7B84D4FE7D}"/>
                </a:ext>
              </a:extLst>
            </p:cNvPr>
            <p:cNvSpPr/>
            <p:nvPr/>
          </p:nvSpPr>
          <p:spPr>
            <a:xfrm>
              <a:off x="5886011" y="469283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26584816-7D52-4E40-ABB6-7DDEF7909140}"/>
                </a:ext>
              </a:extLst>
            </p:cNvPr>
            <p:cNvSpPr/>
            <p:nvPr/>
          </p:nvSpPr>
          <p:spPr>
            <a:xfrm>
              <a:off x="5715823" y="352439"/>
              <a:ext cx="333390" cy="464203"/>
            </a:xfrm>
            <a:custGeom>
              <a:avLst/>
              <a:gdLst>
                <a:gd name="connsiteX0" fmla="*/ 165743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B8129D41-1CA7-4C41-B1C6-C933F34C45A8}"/>
                </a:ext>
              </a:extLst>
            </p:cNvPr>
            <p:cNvSpPr/>
            <p:nvPr/>
          </p:nvSpPr>
          <p:spPr>
            <a:xfrm>
              <a:off x="11331391" y="3662191"/>
              <a:ext cx="674401" cy="351168"/>
            </a:xfrm>
            <a:custGeom>
              <a:avLst/>
              <a:gdLst>
                <a:gd name="connsiteX0" fmla="*/ 338470 w 674401"/>
                <a:gd name="connsiteY0" fmla="*/ 234959 h 351168"/>
                <a:gd name="connsiteX1" fmla="*/ 337201 w 674401"/>
                <a:gd name="connsiteY1" fmla="*/ 234324 h 351168"/>
                <a:gd name="connsiteX2" fmla="*/ 168283 w 674401"/>
                <a:gd name="connsiteY2" fmla="*/ 351169 h 351168"/>
                <a:gd name="connsiteX3" fmla="*/ 0 w 674401"/>
                <a:gd name="connsiteY3" fmla="*/ 234324 h 351168"/>
                <a:gd name="connsiteX4" fmla="*/ 337201 w 674401"/>
                <a:gd name="connsiteY4" fmla="*/ 0 h 351168"/>
                <a:gd name="connsiteX5" fmla="*/ 674401 w 674401"/>
                <a:gd name="connsiteY5" fmla="*/ 234324 h 351168"/>
                <a:gd name="connsiteX6" fmla="*/ 506753 w 674401"/>
                <a:gd name="connsiteY6" fmla="*/ 351169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8470" y="234959"/>
                  </a:move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1" y="234324"/>
                  </a:lnTo>
                  <a:lnTo>
                    <a:pt x="506753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3BE9D69C-2B49-4F24-B07B-26A0241FAB64}"/>
                </a:ext>
              </a:extLst>
            </p:cNvPr>
            <p:cNvSpPr/>
            <p:nvPr/>
          </p:nvSpPr>
          <p:spPr>
            <a:xfrm>
              <a:off x="11671767" y="2598524"/>
              <a:ext cx="334025" cy="231149"/>
            </a:xfrm>
            <a:custGeom>
              <a:avLst/>
              <a:gdLst>
                <a:gd name="connsiteX0" fmla="*/ 166377 w 334025"/>
                <a:gd name="connsiteY0" fmla="*/ 231149 h 231149"/>
                <a:gd name="connsiteX1" fmla="*/ 0 w 334025"/>
                <a:gd name="connsiteY1" fmla="*/ 115575 h 231149"/>
                <a:gd name="connsiteX2" fmla="*/ 166377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7" y="231149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3" name="Freeform: Shape 342">
              <a:extLst>
                <a:ext uri="{FF2B5EF4-FFF2-40B4-BE49-F238E27FC236}">
                  <a16:creationId xmlns:a16="http://schemas.microsoft.com/office/drawing/2014/main" id="{B4FF07C2-A56F-4252-933C-4C4044641410}"/>
                </a:ext>
              </a:extLst>
            </p:cNvPr>
            <p:cNvSpPr/>
            <p:nvPr/>
          </p:nvSpPr>
          <p:spPr>
            <a:xfrm>
              <a:off x="11501579" y="2481679"/>
              <a:ext cx="333390" cy="463568"/>
            </a:xfrm>
            <a:custGeom>
              <a:avLst/>
              <a:gdLst>
                <a:gd name="connsiteX0" fmla="*/ 166378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E25E20D0-36C1-4638-A03E-DF38DE0F273A}"/>
                </a:ext>
              </a:extLst>
            </p:cNvPr>
            <p:cNvSpPr/>
            <p:nvPr/>
          </p:nvSpPr>
          <p:spPr>
            <a:xfrm>
              <a:off x="11331391" y="2242909"/>
              <a:ext cx="674401" cy="351804"/>
            </a:xfrm>
            <a:custGeom>
              <a:avLst/>
              <a:gdLst>
                <a:gd name="connsiteX0" fmla="*/ 338470 w 674401"/>
                <a:gd name="connsiteY0" fmla="*/ 234959 h 351804"/>
                <a:gd name="connsiteX1" fmla="*/ 337201 w 674401"/>
                <a:gd name="connsiteY1" fmla="*/ 234324 h 351804"/>
                <a:gd name="connsiteX2" fmla="*/ 168283 w 674401"/>
                <a:gd name="connsiteY2" fmla="*/ 351804 h 351804"/>
                <a:gd name="connsiteX3" fmla="*/ 0 w 674401"/>
                <a:gd name="connsiteY3" fmla="*/ 234324 h 351804"/>
                <a:gd name="connsiteX4" fmla="*/ 337201 w 674401"/>
                <a:gd name="connsiteY4" fmla="*/ 0 h 351804"/>
                <a:gd name="connsiteX5" fmla="*/ 674401 w 674401"/>
                <a:gd name="connsiteY5" fmla="*/ 234324 h 351804"/>
                <a:gd name="connsiteX6" fmla="*/ 506753 w 674401"/>
                <a:gd name="connsiteY6" fmla="*/ 351169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8470" y="234959"/>
                  </a:move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1" y="234324"/>
                  </a:lnTo>
                  <a:lnTo>
                    <a:pt x="506753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8ED6B9EE-3D7D-4C6E-8368-7699765586B4}"/>
                </a:ext>
              </a:extLst>
            </p:cNvPr>
            <p:cNvSpPr/>
            <p:nvPr/>
          </p:nvSpPr>
          <p:spPr>
            <a:xfrm>
              <a:off x="11841320" y="1061762"/>
              <a:ext cx="165742" cy="229244"/>
            </a:xfrm>
            <a:custGeom>
              <a:avLst/>
              <a:gdLst>
                <a:gd name="connsiteX0" fmla="*/ 0 w 165742"/>
                <a:gd name="connsiteY0" fmla="*/ 114940 h 229244"/>
                <a:gd name="connsiteX1" fmla="*/ 165743 w 165742"/>
                <a:gd name="connsiteY1" fmla="*/ 0 h 229244"/>
                <a:gd name="connsiteX2" fmla="*/ 165743 w 165742"/>
                <a:gd name="connsiteY2" fmla="*/ 229244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0" y="114940"/>
                  </a:moveTo>
                  <a:lnTo>
                    <a:pt x="165743" y="0"/>
                  </a:lnTo>
                  <a:lnTo>
                    <a:pt x="165743" y="22924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9766A64A-97BE-48E1-A87D-7659FB265E73}"/>
                </a:ext>
              </a:extLst>
            </p:cNvPr>
            <p:cNvSpPr/>
            <p:nvPr/>
          </p:nvSpPr>
          <p:spPr>
            <a:xfrm>
              <a:off x="11670497" y="352439"/>
              <a:ext cx="336565" cy="702338"/>
            </a:xfrm>
            <a:custGeom>
              <a:avLst/>
              <a:gdLst>
                <a:gd name="connsiteX0" fmla="*/ 0 w 336565"/>
                <a:gd name="connsiteY0" fmla="*/ 468014 h 702338"/>
                <a:gd name="connsiteX1" fmla="*/ 0 w 336565"/>
                <a:gd name="connsiteY1" fmla="*/ 0 h 702338"/>
                <a:gd name="connsiteX2" fmla="*/ 167648 w 336565"/>
                <a:gd name="connsiteY2" fmla="*/ 116210 h 702338"/>
                <a:gd name="connsiteX3" fmla="*/ 167648 w 336565"/>
                <a:gd name="connsiteY3" fmla="*/ 351169 h 702338"/>
                <a:gd name="connsiteX4" fmla="*/ 336566 w 336565"/>
                <a:gd name="connsiteY4" fmla="*/ 468649 h 702338"/>
                <a:gd name="connsiteX5" fmla="*/ 336566 w 336565"/>
                <a:gd name="connsiteY5" fmla="*/ 702338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0" y="468014"/>
                  </a:moveTo>
                  <a:lnTo>
                    <a:pt x="0" y="0"/>
                  </a:lnTo>
                  <a:lnTo>
                    <a:pt x="167648" y="116210"/>
                  </a:ln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69AFAE1E-BA2B-42C6-9F05-D63ED810A36C}"/>
                </a:ext>
              </a:extLst>
            </p:cNvPr>
            <p:cNvSpPr/>
            <p:nvPr/>
          </p:nvSpPr>
          <p:spPr>
            <a:xfrm>
              <a:off x="11841955" y="352439"/>
              <a:ext cx="333390" cy="464203"/>
            </a:xfrm>
            <a:custGeom>
              <a:avLst/>
              <a:gdLst>
                <a:gd name="connsiteX0" fmla="*/ 166378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6378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D2DA1146-695D-4FCB-BB43-4DD3DA0CBE64}"/>
                </a:ext>
              </a:extLst>
            </p:cNvPr>
            <p:cNvSpPr/>
            <p:nvPr/>
          </p:nvSpPr>
          <p:spPr>
            <a:xfrm>
              <a:off x="12010873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2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2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AF8BD631-8EF0-44C1-856D-79F193AEE73C}"/>
                </a:ext>
              </a:extLst>
            </p:cNvPr>
            <p:cNvSpPr/>
            <p:nvPr/>
          </p:nvSpPr>
          <p:spPr>
            <a:xfrm>
              <a:off x="12012143" y="469283"/>
              <a:ext cx="179857" cy="231784"/>
            </a:xfrm>
            <a:custGeom>
              <a:avLst/>
              <a:gdLst>
                <a:gd name="connsiteX0" fmla="*/ 166377 w 179857"/>
                <a:gd name="connsiteY0" fmla="*/ 0 h 231784"/>
                <a:gd name="connsiteX1" fmla="*/ 179857 w 179857"/>
                <a:gd name="connsiteY1" fmla="*/ 9293 h 231784"/>
                <a:gd name="connsiteX2" fmla="*/ 179857 w 179857"/>
                <a:gd name="connsiteY2" fmla="*/ 222440 h 231784"/>
                <a:gd name="connsiteX3" fmla="*/ 166377 w 179857"/>
                <a:gd name="connsiteY3" fmla="*/ 231784 h 231784"/>
                <a:gd name="connsiteX4" fmla="*/ 0 w 179857"/>
                <a:gd name="connsiteY4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857" h="231784">
                  <a:moveTo>
                    <a:pt x="166377" y="0"/>
                  </a:moveTo>
                  <a:lnTo>
                    <a:pt x="179857" y="9293"/>
                  </a:lnTo>
                  <a:lnTo>
                    <a:pt x="179857" y="222440"/>
                  </a:lnTo>
                  <a:lnTo>
                    <a:pt x="166377" y="231784"/>
                  </a:lnTo>
                  <a:lnTo>
                    <a:pt x="0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BF9E852E-76A9-4AFA-982D-F5058F01E734}"/>
                </a:ext>
              </a:extLst>
            </p:cNvPr>
            <p:cNvSpPr/>
            <p:nvPr/>
          </p:nvSpPr>
          <p:spPr>
            <a:xfrm>
              <a:off x="11671767" y="114304"/>
              <a:ext cx="520233" cy="351169"/>
            </a:xfrm>
            <a:custGeom>
              <a:avLst/>
              <a:gdLst>
                <a:gd name="connsiteX0" fmla="*/ 337201 w 520233"/>
                <a:gd name="connsiteY0" fmla="*/ 0 h 351169"/>
                <a:gd name="connsiteX1" fmla="*/ 520233 w 520233"/>
                <a:gd name="connsiteY1" fmla="*/ 127191 h 351169"/>
                <a:gd name="connsiteX2" fmla="*/ 520233 w 520233"/>
                <a:gd name="connsiteY2" fmla="*/ 341190 h 351169"/>
                <a:gd name="connsiteX3" fmla="*/ 506753 w 520233"/>
                <a:gd name="connsiteY3" fmla="*/ 350534 h 351169"/>
                <a:gd name="connsiteX4" fmla="*/ 338470 w 520233"/>
                <a:gd name="connsiteY4" fmla="*/ 234959 h 351169"/>
                <a:gd name="connsiteX5" fmla="*/ 337201 w 520233"/>
                <a:gd name="connsiteY5" fmla="*/ 233689 h 351169"/>
                <a:gd name="connsiteX6" fmla="*/ 168283 w 520233"/>
                <a:gd name="connsiteY6" fmla="*/ 351169 h 351169"/>
                <a:gd name="connsiteX7" fmla="*/ 0 w 520233"/>
                <a:gd name="connsiteY7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0233" h="351169">
                  <a:moveTo>
                    <a:pt x="337201" y="0"/>
                  </a:moveTo>
                  <a:lnTo>
                    <a:pt x="520233" y="127191"/>
                  </a:lnTo>
                  <a:lnTo>
                    <a:pt x="520233" y="341190"/>
                  </a:lnTo>
                  <a:lnTo>
                    <a:pt x="506753" y="350534"/>
                  </a:lnTo>
                  <a:lnTo>
                    <a:pt x="338470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8278867D-9845-41CD-9C1B-2C0F9F088860}"/>
                </a:ext>
              </a:extLst>
            </p:cNvPr>
            <p:cNvSpPr/>
            <p:nvPr/>
          </p:nvSpPr>
          <p:spPr>
            <a:xfrm>
              <a:off x="11670496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C2D1F093-2428-48D1-AFBE-5FBE6F8942B6}"/>
                </a:ext>
              </a:extLst>
            </p:cNvPr>
            <p:cNvSpPr/>
            <p:nvPr/>
          </p:nvSpPr>
          <p:spPr>
            <a:xfrm>
              <a:off x="11500944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C48140A8-EB20-43FC-9AF3-93CA956AEFCF}"/>
                </a:ext>
              </a:extLst>
            </p:cNvPr>
            <p:cNvSpPr/>
            <p:nvPr/>
          </p:nvSpPr>
          <p:spPr>
            <a:xfrm>
              <a:off x="10991650" y="114304"/>
              <a:ext cx="673766" cy="351169"/>
            </a:xfrm>
            <a:custGeom>
              <a:avLst/>
              <a:gdLst>
                <a:gd name="connsiteX0" fmla="*/ 506118 w 673766"/>
                <a:gd name="connsiteY0" fmla="*/ 350534 h 351169"/>
                <a:gd name="connsiteX1" fmla="*/ 337836 w 673766"/>
                <a:gd name="connsiteY1" fmla="*/ 234959 h 351169"/>
                <a:gd name="connsiteX2" fmla="*/ 336566 w 673766"/>
                <a:gd name="connsiteY2" fmla="*/ 233689 h 351169"/>
                <a:gd name="connsiteX3" fmla="*/ 167647 w 673766"/>
                <a:gd name="connsiteY3" fmla="*/ 351169 h 351169"/>
                <a:gd name="connsiteX4" fmla="*/ 0 w 673766"/>
                <a:gd name="connsiteY4" fmla="*/ 234324 h 351169"/>
                <a:gd name="connsiteX5" fmla="*/ 336566 w 673766"/>
                <a:gd name="connsiteY5" fmla="*/ 0 h 351169"/>
                <a:gd name="connsiteX6" fmla="*/ 673766 w 673766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506118" y="350534"/>
                  </a:moveTo>
                  <a:lnTo>
                    <a:pt x="337836" y="234959"/>
                  </a:lnTo>
                  <a:lnTo>
                    <a:pt x="336566" y="233689"/>
                  </a:lnTo>
                  <a:lnTo>
                    <a:pt x="167647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B0F3385C-F6F0-4C33-8458-D8C90CE82D15}"/>
                </a:ext>
              </a:extLst>
            </p:cNvPr>
            <p:cNvSpPr/>
            <p:nvPr/>
          </p:nvSpPr>
          <p:spPr>
            <a:xfrm>
              <a:off x="10989744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B3E02B83-1125-4D5E-8F4E-884384991001}"/>
                </a:ext>
              </a:extLst>
            </p:cNvPr>
            <p:cNvSpPr/>
            <p:nvPr/>
          </p:nvSpPr>
          <p:spPr>
            <a:xfrm>
              <a:off x="10820192" y="351804"/>
              <a:ext cx="166377" cy="229879"/>
            </a:xfrm>
            <a:custGeom>
              <a:avLst/>
              <a:gdLst>
                <a:gd name="connsiteX0" fmla="*/ 166378 w 166377"/>
                <a:gd name="connsiteY0" fmla="*/ 229879 h 229879"/>
                <a:gd name="connsiteX1" fmla="*/ 0 w 166377"/>
                <a:gd name="connsiteY1" fmla="*/ 115575 h 229879"/>
                <a:gd name="connsiteX2" fmla="*/ 166378 w 166377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166378" y="229879"/>
                  </a:moveTo>
                  <a:lnTo>
                    <a:pt x="0" y="115575"/>
                  </a:lnTo>
                  <a:lnTo>
                    <a:pt x="166378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6089D650-0B12-4732-9F6A-6B5AC1A65BB1}"/>
                </a:ext>
              </a:extLst>
            </p:cNvPr>
            <p:cNvSpPr/>
            <p:nvPr/>
          </p:nvSpPr>
          <p:spPr>
            <a:xfrm>
              <a:off x="10310898" y="114304"/>
              <a:ext cx="673766" cy="351169"/>
            </a:xfrm>
            <a:custGeom>
              <a:avLst/>
              <a:gdLst>
                <a:gd name="connsiteX0" fmla="*/ 506119 w 673766"/>
                <a:gd name="connsiteY0" fmla="*/ 350534 h 351169"/>
                <a:gd name="connsiteX1" fmla="*/ 337836 w 673766"/>
                <a:gd name="connsiteY1" fmla="*/ 234959 h 351169"/>
                <a:gd name="connsiteX2" fmla="*/ 336566 w 673766"/>
                <a:gd name="connsiteY2" fmla="*/ 233689 h 351169"/>
                <a:gd name="connsiteX3" fmla="*/ 168283 w 673766"/>
                <a:gd name="connsiteY3" fmla="*/ 351169 h 351169"/>
                <a:gd name="connsiteX4" fmla="*/ 0 w 673766"/>
                <a:gd name="connsiteY4" fmla="*/ 234324 h 351169"/>
                <a:gd name="connsiteX5" fmla="*/ 336566 w 673766"/>
                <a:gd name="connsiteY5" fmla="*/ 0 h 351169"/>
                <a:gd name="connsiteX6" fmla="*/ 673766 w 673766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506119" y="350534"/>
                  </a:moveTo>
                  <a:lnTo>
                    <a:pt x="337836" y="234959"/>
                  </a:lnTo>
                  <a:lnTo>
                    <a:pt x="336566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A3FD1BDB-23E4-4746-B6DA-31C8A2085331}"/>
                </a:ext>
              </a:extLst>
            </p:cNvPr>
            <p:cNvSpPr/>
            <p:nvPr/>
          </p:nvSpPr>
          <p:spPr>
            <a:xfrm>
              <a:off x="10308993" y="0"/>
              <a:ext cx="337201" cy="344820"/>
            </a:xfrm>
            <a:custGeom>
              <a:avLst/>
              <a:gdLst>
                <a:gd name="connsiteX0" fmla="*/ 161673 w 337201"/>
                <a:gd name="connsiteY0" fmla="*/ 0 h 344820"/>
                <a:gd name="connsiteX1" fmla="*/ 337201 w 337201"/>
                <a:gd name="connsiteY1" fmla="*/ 0 h 344820"/>
                <a:gd name="connsiteX2" fmla="*/ 337201 w 337201"/>
                <a:gd name="connsiteY2" fmla="*/ 111130 h 344820"/>
                <a:gd name="connsiteX3" fmla="*/ 0 w 337201"/>
                <a:gd name="connsiteY3" fmla="*/ 344820 h 344820"/>
                <a:gd name="connsiteX4" fmla="*/ 0 w 337201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201" h="344820">
                  <a:moveTo>
                    <a:pt x="161673" y="0"/>
                  </a:moveTo>
                  <a:lnTo>
                    <a:pt x="337201" y="0"/>
                  </a:lnTo>
                  <a:lnTo>
                    <a:pt x="337201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75E73E8D-0CB2-4C98-997E-10FB17A4D86A}"/>
                </a:ext>
              </a:extLst>
            </p:cNvPr>
            <p:cNvSpPr/>
            <p:nvPr/>
          </p:nvSpPr>
          <p:spPr>
            <a:xfrm>
              <a:off x="10139440" y="351804"/>
              <a:ext cx="166377" cy="229879"/>
            </a:xfrm>
            <a:custGeom>
              <a:avLst/>
              <a:gdLst>
                <a:gd name="connsiteX0" fmla="*/ 166378 w 166377"/>
                <a:gd name="connsiteY0" fmla="*/ 229879 h 229879"/>
                <a:gd name="connsiteX1" fmla="*/ 0 w 166377"/>
                <a:gd name="connsiteY1" fmla="*/ 115575 h 229879"/>
                <a:gd name="connsiteX2" fmla="*/ 166378 w 166377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166378" y="229879"/>
                  </a:moveTo>
                  <a:lnTo>
                    <a:pt x="0" y="115575"/>
                  </a:lnTo>
                  <a:lnTo>
                    <a:pt x="166378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C3A0EF31-8BF9-470C-A4B4-392CAB6D6DEA}"/>
                </a:ext>
              </a:extLst>
            </p:cNvPr>
            <p:cNvSpPr/>
            <p:nvPr/>
          </p:nvSpPr>
          <p:spPr>
            <a:xfrm>
              <a:off x="9630146" y="114304"/>
              <a:ext cx="673766" cy="351169"/>
            </a:xfrm>
            <a:custGeom>
              <a:avLst/>
              <a:gdLst>
                <a:gd name="connsiteX0" fmla="*/ 506118 w 673766"/>
                <a:gd name="connsiteY0" fmla="*/ 350534 h 351169"/>
                <a:gd name="connsiteX1" fmla="*/ 337836 w 673766"/>
                <a:gd name="connsiteY1" fmla="*/ 234959 h 351169"/>
                <a:gd name="connsiteX2" fmla="*/ 337201 w 673766"/>
                <a:gd name="connsiteY2" fmla="*/ 233689 h 351169"/>
                <a:gd name="connsiteX3" fmla="*/ 168283 w 673766"/>
                <a:gd name="connsiteY3" fmla="*/ 351169 h 351169"/>
                <a:gd name="connsiteX4" fmla="*/ 0 w 673766"/>
                <a:gd name="connsiteY4" fmla="*/ 234324 h 351169"/>
                <a:gd name="connsiteX5" fmla="*/ 337201 w 673766"/>
                <a:gd name="connsiteY5" fmla="*/ 0 h 351169"/>
                <a:gd name="connsiteX6" fmla="*/ 673766 w 673766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506118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3766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8EF88757-211A-42D3-B430-A9E7602F78A8}"/>
                </a:ext>
              </a:extLst>
            </p:cNvPr>
            <p:cNvSpPr/>
            <p:nvPr userDrawn="1"/>
          </p:nvSpPr>
          <p:spPr>
            <a:xfrm>
              <a:off x="9628875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1" name="Freeform: Shape 360">
              <a:extLst>
                <a:ext uri="{FF2B5EF4-FFF2-40B4-BE49-F238E27FC236}">
                  <a16:creationId xmlns:a16="http://schemas.microsoft.com/office/drawing/2014/main" id="{010352C5-C01F-40B3-9403-CE6795763295}"/>
                </a:ext>
              </a:extLst>
            </p:cNvPr>
            <p:cNvSpPr/>
            <p:nvPr/>
          </p:nvSpPr>
          <p:spPr>
            <a:xfrm>
              <a:off x="9459323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2" name="Freeform: Shape 361">
              <a:extLst>
                <a:ext uri="{FF2B5EF4-FFF2-40B4-BE49-F238E27FC236}">
                  <a16:creationId xmlns:a16="http://schemas.microsoft.com/office/drawing/2014/main" id="{151814D9-77E1-4C5C-8B42-2DDFAAC5F123}"/>
                </a:ext>
              </a:extLst>
            </p:cNvPr>
            <p:cNvSpPr/>
            <p:nvPr userDrawn="1"/>
          </p:nvSpPr>
          <p:spPr>
            <a:xfrm>
              <a:off x="8949395" y="114304"/>
              <a:ext cx="673766" cy="351169"/>
            </a:xfrm>
            <a:custGeom>
              <a:avLst/>
              <a:gdLst>
                <a:gd name="connsiteX0" fmla="*/ 506119 w 673766"/>
                <a:gd name="connsiteY0" fmla="*/ 350534 h 351169"/>
                <a:gd name="connsiteX1" fmla="*/ 337836 w 673766"/>
                <a:gd name="connsiteY1" fmla="*/ 234959 h 351169"/>
                <a:gd name="connsiteX2" fmla="*/ 337201 w 673766"/>
                <a:gd name="connsiteY2" fmla="*/ 233689 h 351169"/>
                <a:gd name="connsiteX3" fmla="*/ 168283 w 673766"/>
                <a:gd name="connsiteY3" fmla="*/ 351169 h 351169"/>
                <a:gd name="connsiteX4" fmla="*/ 0 w 673766"/>
                <a:gd name="connsiteY4" fmla="*/ 234324 h 351169"/>
                <a:gd name="connsiteX5" fmla="*/ 337201 w 673766"/>
                <a:gd name="connsiteY5" fmla="*/ 0 h 351169"/>
                <a:gd name="connsiteX6" fmla="*/ 673766 w 673766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506119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3766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3" name="Freeform: Shape 362">
              <a:extLst>
                <a:ext uri="{FF2B5EF4-FFF2-40B4-BE49-F238E27FC236}">
                  <a16:creationId xmlns:a16="http://schemas.microsoft.com/office/drawing/2014/main" id="{2D465644-1F10-4B91-9D40-A96283500782}"/>
                </a:ext>
              </a:extLst>
            </p:cNvPr>
            <p:cNvSpPr/>
            <p:nvPr/>
          </p:nvSpPr>
          <p:spPr>
            <a:xfrm>
              <a:off x="8948123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4" name="Freeform: Shape 363">
              <a:extLst>
                <a:ext uri="{FF2B5EF4-FFF2-40B4-BE49-F238E27FC236}">
                  <a16:creationId xmlns:a16="http://schemas.microsoft.com/office/drawing/2014/main" id="{A159563C-ED59-4204-B09F-15A85D7EF919}"/>
                </a:ext>
              </a:extLst>
            </p:cNvPr>
            <p:cNvSpPr/>
            <p:nvPr/>
          </p:nvSpPr>
          <p:spPr>
            <a:xfrm>
              <a:off x="8778571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5" name="Freeform: Shape 364">
              <a:extLst>
                <a:ext uri="{FF2B5EF4-FFF2-40B4-BE49-F238E27FC236}">
                  <a16:creationId xmlns:a16="http://schemas.microsoft.com/office/drawing/2014/main" id="{2ED37143-7EC6-4544-92F1-59DC8DD29A7A}"/>
                </a:ext>
              </a:extLst>
            </p:cNvPr>
            <p:cNvSpPr/>
            <p:nvPr userDrawn="1"/>
          </p:nvSpPr>
          <p:spPr>
            <a:xfrm>
              <a:off x="8268643" y="114304"/>
              <a:ext cx="674401" cy="351169"/>
            </a:xfrm>
            <a:custGeom>
              <a:avLst/>
              <a:gdLst>
                <a:gd name="connsiteX0" fmla="*/ 506754 w 674401"/>
                <a:gd name="connsiteY0" fmla="*/ 350534 h 351169"/>
                <a:gd name="connsiteX1" fmla="*/ 337836 w 674401"/>
                <a:gd name="connsiteY1" fmla="*/ 234959 h 351169"/>
                <a:gd name="connsiteX2" fmla="*/ 337201 w 674401"/>
                <a:gd name="connsiteY2" fmla="*/ 233689 h 351169"/>
                <a:gd name="connsiteX3" fmla="*/ 168283 w 674401"/>
                <a:gd name="connsiteY3" fmla="*/ 351169 h 351169"/>
                <a:gd name="connsiteX4" fmla="*/ 0 w 674401"/>
                <a:gd name="connsiteY4" fmla="*/ 234324 h 351169"/>
                <a:gd name="connsiteX5" fmla="*/ 337201 w 674401"/>
                <a:gd name="connsiteY5" fmla="*/ 0 h 351169"/>
                <a:gd name="connsiteX6" fmla="*/ 674402 w 674401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506754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2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6" name="Freeform: Shape 365">
              <a:extLst>
                <a:ext uri="{FF2B5EF4-FFF2-40B4-BE49-F238E27FC236}">
                  <a16:creationId xmlns:a16="http://schemas.microsoft.com/office/drawing/2014/main" id="{3A007D98-3210-4F34-B99E-F4A2C476EA2B}"/>
                </a:ext>
              </a:extLst>
            </p:cNvPr>
            <p:cNvSpPr/>
            <p:nvPr userDrawn="1"/>
          </p:nvSpPr>
          <p:spPr>
            <a:xfrm>
              <a:off x="8267371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7" name="Freeform: Shape 366">
              <a:extLst>
                <a:ext uri="{FF2B5EF4-FFF2-40B4-BE49-F238E27FC236}">
                  <a16:creationId xmlns:a16="http://schemas.microsoft.com/office/drawing/2014/main" id="{0CEE2DAB-1C51-463E-978C-E52C3D3428DB}"/>
                </a:ext>
              </a:extLst>
            </p:cNvPr>
            <p:cNvSpPr/>
            <p:nvPr/>
          </p:nvSpPr>
          <p:spPr>
            <a:xfrm>
              <a:off x="8097819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8" name="Freeform: Shape 367">
              <a:extLst>
                <a:ext uri="{FF2B5EF4-FFF2-40B4-BE49-F238E27FC236}">
                  <a16:creationId xmlns:a16="http://schemas.microsoft.com/office/drawing/2014/main" id="{A535C535-6FE7-45F9-93BC-7A70BEE1B0BF}"/>
                </a:ext>
              </a:extLst>
            </p:cNvPr>
            <p:cNvSpPr/>
            <p:nvPr/>
          </p:nvSpPr>
          <p:spPr>
            <a:xfrm>
              <a:off x="7587891" y="114304"/>
              <a:ext cx="674401" cy="351169"/>
            </a:xfrm>
            <a:custGeom>
              <a:avLst/>
              <a:gdLst>
                <a:gd name="connsiteX0" fmla="*/ 506754 w 674401"/>
                <a:gd name="connsiteY0" fmla="*/ 350534 h 351169"/>
                <a:gd name="connsiteX1" fmla="*/ 337836 w 674401"/>
                <a:gd name="connsiteY1" fmla="*/ 234959 h 351169"/>
                <a:gd name="connsiteX2" fmla="*/ 337201 w 674401"/>
                <a:gd name="connsiteY2" fmla="*/ 233689 h 351169"/>
                <a:gd name="connsiteX3" fmla="*/ 168283 w 674401"/>
                <a:gd name="connsiteY3" fmla="*/ 351169 h 351169"/>
                <a:gd name="connsiteX4" fmla="*/ 0 w 674401"/>
                <a:gd name="connsiteY4" fmla="*/ 234324 h 351169"/>
                <a:gd name="connsiteX5" fmla="*/ 337201 w 674401"/>
                <a:gd name="connsiteY5" fmla="*/ 0 h 351169"/>
                <a:gd name="connsiteX6" fmla="*/ 674402 w 674401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506754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2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9" name="Freeform: Shape 368">
              <a:extLst>
                <a:ext uri="{FF2B5EF4-FFF2-40B4-BE49-F238E27FC236}">
                  <a16:creationId xmlns:a16="http://schemas.microsoft.com/office/drawing/2014/main" id="{A4434797-CD11-4664-96F3-F3533D6580FB}"/>
                </a:ext>
              </a:extLst>
            </p:cNvPr>
            <p:cNvSpPr/>
            <p:nvPr userDrawn="1"/>
          </p:nvSpPr>
          <p:spPr>
            <a:xfrm>
              <a:off x="7586620" y="0"/>
              <a:ext cx="336566" cy="344820"/>
            </a:xfrm>
            <a:custGeom>
              <a:avLst/>
              <a:gdLst>
                <a:gd name="connsiteX0" fmla="*/ 161369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9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0" name="Freeform: Shape 369">
              <a:extLst>
                <a:ext uri="{FF2B5EF4-FFF2-40B4-BE49-F238E27FC236}">
                  <a16:creationId xmlns:a16="http://schemas.microsoft.com/office/drawing/2014/main" id="{1DD0A4C6-EFD6-4D88-B861-897105EEE6F6}"/>
                </a:ext>
              </a:extLst>
            </p:cNvPr>
            <p:cNvSpPr/>
            <p:nvPr/>
          </p:nvSpPr>
          <p:spPr>
            <a:xfrm>
              <a:off x="7417068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1" name="Freeform: Shape 370">
              <a:extLst>
                <a:ext uri="{FF2B5EF4-FFF2-40B4-BE49-F238E27FC236}">
                  <a16:creationId xmlns:a16="http://schemas.microsoft.com/office/drawing/2014/main" id="{92179288-FCEF-4517-8E25-D248CA24437B}"/>
                </a:ext>
              </a:extLst>
            </p:cNvPr>
            <p:cNvSpPr/>
            <p:nvPr userDrawn="1"/>
          </p:nvSpPr>
          <p:spPr>
            <a:xfrm>
              <a:off x="6907139" y="114304"/>
              <a:ext cx="674401" cy="351169"/>
            </a:xfrm>
            <a:custGeom>
              <a:avLst/>
              <a:gdLst>
                <a:gd name="connsiteX0" fmla="*/ 506754 w 674401"/>
                <a:gd name="connsiteY0" fmla="*/ 350534 h 351169"/>
                <a:gd name="connsiteX1" fmla="*/ 337836 w 674401"/>
                <a:gd name="connsiteY1" fmla="*/ 234959 h 351169"/>
                <a:gd name="connsiteX2" fmla="*/ 337201 w 674401"/>
                <a:gd name="connsiteY2" fmla="*/ 233689 h 351169"/>
                <a:gd name="connsiteX3" fmla="*/ 168283 w 674401"/>
                <a:gd name="connsiteY3" fmla="*/ 351169 h 351169"/>
                <a:gd name="connsiteX4" fmla="*/ 0 w 674401"/>
                <a:gd name="connsiteY4" fmla="*/ 234324 h 351169"/>
                <a:gd name="connsiteX5" fmla="*/ 337201 w 674401"/>
                <a:gd name="connsiteY5" fmla="*/ 0 h 351169"/>
                <a:gd name="connsiteX6" fmla="*/ 674401 w 674401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506754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1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2" name="Freeform: Shape 371">
              <a:extLst>
                <a:ext uri="{FF2B5EF4-FFF2-40B4-BE49-F238E27FC236}">
                  <a16:creationId xmlns:a16="http://schemas.microsoft.com/office/drawing/2014/main" id="{E2023F14-AC0A-446C-A261-39C0404C5812}"/>
                </a:ext>
              </a:extLst>
            </p:cNvPr>
            <p:cNvSpPr/>
            <p:nvPr/>
          </p:nvSpPr>
          <p:spPr>
            <a:xfrm>
              <a:off x="6905868" y="0"/>
              <a:ext cx="336566" cy="344820"/>
            </a:xfrm>
            <a:custGeom>
              <a:avLst/>
              <a:gdLst>
                <a:gd name="connsiteX0" fmla="*/ 161369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9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3" name="Freeform: Shape 372">
              <a:extLst>
                <a:ext uri="{FF2B5EF4-FFF2-40B4-BE49-F238E27FC236}">
                  <a16:creationId xmlns:a16="http://schemas.microsoft.com/office/drawing/2014/main" id="{3B9A4A1F-27A7-4809-9137-6DE1AA963074}"/>
                </a:ext>
              </a:extLst>
            </p:cNvPr>
            <p:cNvSpPr/>
            <p:nvPr/>
          </p:nvSpPr>
          <p:spPr>
            <a:xfrm>
              <a:off x="6736316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4" name="Freeform: Shape 373">
              <a:extLst>
                <a:ext uri="{FF2B5EF4-FFF2-40B4-BE49-F238E27FC236}">
                  <a16:creationId xmlns:a16="http://schemas.microsoft.com/office/drawing/2014/main" id="{1A508872-D437-4AAE-A6BF-384A0F9DE3CA}"/>
                </a:ext>
              </a:extLst>
            </p:cNvPr>
            <p:cNvSpPr/>
            <p:nvPr/>
          </p:nvSpPr>
          <p:spPr>
            <a:xfrm>
              <a:off x="6226387" y="114304"/>
              <a:ext cx="674401" cy="351169"/>
            </a:xfrm>
            <a:custGeom>
              <a:avLst/>
              <a:gdLst>
                <a:gd name="connsiteX0" fmla="*/ 506754 w 674401"/>
                <a:gd name="connsiteY0" fmla="*/ 350534 h 351169"/>
                <a:gd name="connsiteX1" fmla="*/ 338471 w 674401"/>
                <a:gd name="connsiteY1" fmla="*/ 234959 h 351169"/>
                <a:gd name="connsiteX2" fmla="*/ 337201 w 674401"/>
                <a:gd name="connsiteY2" fmla="*/ 233689 h 351169"/>
                <a:gd name="connsiteX3" fmla="*/ 168283 w 674401"/>
                <a:gd name="connsiteY3" fmla="*/ 351169 h 351169"/>
                <a:gd name="connsiteX4" fmla="*/ 0 w 674401"/>
                <a:gd name="connsiteY4" fmla="*/ 234324 h 351169"/>
                <a:gd name="connsiteX5" fmla="*/ 337201 w 674401"/>
                <a:gd name="connsiteY5" fmla="*/ 0 h 351169"/>
                <a:gd name="connsiteX6" fmla="*/ 674402 w 674401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506754" y="350534"/>
                  </a:moveTo>
                  <a:lnTo>
                    <a:pt x="338471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2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5" name="Freeform: Shape 374">
              <a:extLst>
                <a:ext uri="{FF2B5EF4-FFF2-40B4-BE49-F238E27FC236}">
                  <a16:creationId xmlns:a16="http://schemas.microsoft.com/office/drawing/2014/main" id="{A96B18E4-DF96-43F9-BAD5-412F5147C0D3}"/>
                </a:ext>
              </a:extLst>
            </p:cNvPr>
            <p:cNvSpPr/>
            <p:nvPr/>
          </p:nvSpPr>
          <p:spPr>
            <a:xfrm>
              <a:off x="6055564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6" name="Freeform: Shape 375">
              <a:extLst>
                <a:ext uri="{FF2B5EF4-FFF2-40B4-BE49-F238E27FC236}">
                  <a16:creationId xmlns:a16="http://schemas.microsoft.com/office/drawing/2014/main" id="{8C1FFDA1-FD48-4A88-A990-D2FDA3D62DFC}"/>
                </a:ext>
              </a:extLst>
            </p:cNvPr>
            <p:cNvSpPr/>
            <p:nvPr/>
          </p:nvSpPr>
          <p:spPr>
            <a:xfrm>
              <a:off x="11670497" y="3190367"/>
              <a:ext cx="336565" cy="702973"/>
            </a:xfrm>
            <a:custGeom>
              <a:avLst/>
              <a:gdLst>
                <a:gd name="connsiteX0" fmla="*/ 0 w 336565"/>
                <a:gd name="connsiteY0" fmla="*/ 468649 h 702973"/>
                <a:gd name="connsiteX1" fmla="*/ 0 w 336565"/>
                <a:gd name="connsiteY1" fmla="*/ 0 h 702973"/>
                <a:gd name="connsiteX2" fmla="*/ 167648 w 336565"/>
                <a:gd name="connsiteY2" fmla="*/ 116845 h 702973"/>
                <a:gd name="connsiteX3" fmla="*/ 167648 w 336565"/>
                <a:gd name="connsiteY3" fmla="*/ 351804 h 702973"/>
                <a:gd name="connsiteX4" fmla="*/ 336566 w 336565"/>
                <a:gd name="connsiteY4" fmla="*/ 468649 h 702973"/>
                <a:gd name="connsiteX5" fmla="*/ 336566 w 336565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0" y="468649"/>
                  </a:moveTo>
                  <a:lnTo>
                    <a:pt x="0" y="0"/>
                  </a:lnTo>
                  <a:lnTo>
                    <a:pt x="167648" y="116845"/>
                  </a:ln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7" name="Freeform: Shape 376">
              <a:extLst>
                <a:ext uri="{FF2B5EF4-FFF2-40B4-BE49-F238E27FC236}">
                  <a16:creationId xmlns:a16="http://schemas.microsoft.com/office/drawing/2014/main" id="{C5B7005F-22C0-4AEF-AC6A-0F2F428A68D2}"/>
                </a:ext>
              </a:extLst>
            </p:cNvPr>
            <p:cNvSpPr/>
            <p:nvPr/>
          </p:nvSpPr>
          <p:spPr>
            <a:xfrm>
              <a:off x="11841955" y="3191002"/>
              <a:ext cx="333390" cy="463568"/>
            </a:xfrm>
            <a:custGeom>
              <a:avLst/>
              <a:gdLst>
                <a:gd name="connsiteX0" fmla="*/ 166378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8" name="Freeform: Shape 377">
              <a:extLst>
                <a:ext uri="{FF2B5EF4-FFF2-40B4-BE49-F238E27FC236}">
                  <a16:creationId xmlns:a16="http://schemas.microsoft.com/office/drawing/2014/main" id="{D81983A4-BE29-4A95-909E-7E65C8CA44F4}"/>
                </a:ext>
              </a:extLst>
            </p:cNvPr>
            <p:cNvSpPr/>
            <p:nvPr/>
          </p:nvSpPr>
          <p:spPr>
            <a:xfrm>
              <a:off x="12010873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9" name="Freeform: Shape 378">
              <a:extLst>
                <a:ext uri="{FF2B5EF4-FFF2-40B4-BE49-F238E27FC236}">
                  <a16:creationId xmlns:a16="http://schemas.microsoft.com/office/drawing/2014/main" id="{4CE6400B-0FC2-4700-9828-B12438946AF8}"/>
                </a:ext>
              </a:extLst>
            </p:cNvPr>
            <p:cNvSpPr/>
            <p:nvPr/>
          </p:nvSpPr>
          <p:spPr>
            <a:xfrm>
              <a:off x="12012143" y="3307847"/>
              <a:ext cx="179857" cy="231149"/>
            </a:xfrm>
            <a:custGeom>
              <a:avLst/>
              <a:gdLst>
                <a:gd name="connsiteX0" fmla="*/ 166377 w 179857"/>
                <a:gd name="connsiteY0" fmla="*/ 0 h 231149"/>
                <a:gd name="connsiteX1" fmla="*/ 179857 w 179857"/>
                <a:gd name="connsiteY1" fmla="*/ 9293 h 231149"/>
                <a:gd name="connsiteX2" fmla="*/ 179857 w 179857"/>
                <a:gd name="connsiteY2" fmla="*/ 221856 h 231149"/>
                <a:gd name="connsiteX3" fmla="*/ 166377 w 179857"/>
                <a:gd name="connsiteY3" fmla="*/ 231149 h 231149"/>
                <a:gd name="connsiteX4" fmla="*/ 0 w 179857"/>
                <a:gd name="connsiteY4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857" h="231149">
                  <a:moveTo>
                    <a:pt x="166377" y="0"/>
                  </a:moveTo>
                  <a:lnTo>
                    <a:pt x="179857" y="9293"/>
                  </a:lnTo>
                  <a:lnTo>
                    <a:pt x="179857" y="221856"/>
                  </a:lnTo>
                  <a:lnTo>
                    <a:pt x="166377" y="231149"/>
                  </a:lnTo>
                  <a:lnTo>
                    <a:pt x="0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0" name="Freeform: Shape 379">
              <a:extLst>
                <a:ext uri="{FF2B5EF4-FFF2-40B4-BE49-F238E27FC236}">
                  <a16:creationId xmlns:a16="http://schemas.microsoft.com/office/drawing/2014/main" id="{8D326F4A-8FB2-4511-8084-47F6E859F0E1}"/>
                </a:ext>
              </a:extLst>
            </p:cNvPr>
            <p:cNvSpPr/>
            <p:nvPr/>
          </p:nvSpPr>
          <p:spPr>
            <a:xfrm>
              <a:off x="11671767" y="2952868"/>
              <a:ext cx="520233" cy="351169"/>
            </a:xfrm>
            <a:custGeom>
              <a:avLst/>
              <a:gdLst>
                <a:gd name="connsiteX0" fmla="*/ 337201 w 520233"/>
                <a:gd name="connsiteY0" fmla="*/ 0 h 351169"/>
                <a:gd name="connsiteX1" fmla="*/ 520233 w 520233"/>
                <a:gd name="connsiteY1" fmla="*/ 127191 h 351169"/>
                <a:gd name="connsiteX2" fmla="*/ 520233 w 520233"/>
                <a:gd name="connsiteY2" fmla="*/ 341190 h 351169"/>
                <a:gd name="connsiteX3" fmla="*/ 506753 w 520233"/>
                <a:gd name="connsiteY3" fmla="*/ 350534 h 351169"/>
                <a:gd name="connsiteX4" fmla="*/ 338470 w 520233"/>
                <a:gd name="connsiteY4" fmla="*/ 234324 h 351169"/>
                <a:gd name="connsiteX5" fmla="*/ 337201 w 520233"/>
                <a:gd name="connsiteY5" fmla="*/ 233689 h 351169"/>
                <a:gd name="connsiteX6" fmla="*/ 168283 w 520233"/>
                <a:gd name="connsiteY6" fmla="*/ 351169 h 351169"/>
                <a:gd name="connsiteX7" fmla="*/ 0 w 520233"/>
                <a:gd name="connsiteY7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0233" h="351169">
                  <a:moveTo>
                    <a:pt x="337201" y="0"/>
                  </a:moveTo>
                  <a:lnTo>
                    <a:pt x="520233" y="127191"/>
                  </a:lnTo>
                  <a:lnTo>
                    <a:pt x="520233" y="341190"/>
                  </a:lnTo>
                  <a:lnTo>
                    <a:pt x="506753" y="350534"/>
                  </a:lnTo>
                  <a:lnTo>
                    <a:pt x="338470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1" name="Freeform: Shape 380">
              <a:extLst>
                <a:ext uri="{FF2B5EF4-FFF2-40B4-BE49-F238E27FC236}">
                  <a16:creationId xmlns:a16="http://schemas.microsoft.com/office/drawing/2014/main" id="{C0F129C2-F76E-4CA2-B0F8-79B49DD9F2F4}"/>
                </a:ext>
              </a:extLst>
            </p:cNvPr>
            <p:cNvSpPr/>
            <p:nvPr/>
          </p:nvSpPr>
          <p:spPr>
            <a:xfrm>
              <a:off x="11841320" y="2481044"/>
              <a:ext cx="165742" cy="229244"/>
            </a:xfrm>
            <a:custGeom>
              <a:avLst/>
              <a:gdLst>
                <a:gd name="connsiteX0" fmla="*/ 0 w 165742"/>
                <a:gd name="connsiteY0" fmla="*/ 114939 h 229244"/>
                <a:gd name="connsiteX1" fmla="*/ 165743 w 165742"/>
                <a:gd name="connsiteY1" fmla="*/ 0 h 229244"/>
                <a:gd name="connsiteX2" fmla="*/ 165743 w 165742"/>
                <a:gd name="connsiteY2" fmla="*/ 229244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0" y="114939"/>
                  </a:moveTo>
                  <a:lnTo>
                    <a:pt x="165743" y="0"/>
                  </a:lnTo>
                  <a:lnTo>
                    <a:pt x="165743" y="22924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2" name="Freeform: Shape 381">
              <a:extLst>
                <a:ext uri="{FF2B5EF4-FFF2-40B4-BE49-F238E27FC236}">
                  <a16:creationId xmlns:a16="http://schemas.microsoft.com/office/drawing/2014/main" id="{07BBDF06-F339-4C7D-9F0B-7CC4505B44FC}"/>
                </a:ext>
              </a:extLst>
            </p:cNvPr>
            <p:cNvSpPr/>
            <p:nvPr/>
          </p:nvSpPr>
          <p:spPr>
            <a:xfrm>
              <a:off x="11670497" y="1771085"/>
              <a:ext cx="336565" cy="702973"/>
            </a:xfrm>
            <a:custGeom>
              <a:avLst/>
              <a:gdLst>
                <a:gd name="connsiteX0" fmla="*/ 0 w 336565"/>
                <a:gd name="connsiteY0" fmla="*/ 468649 h 702973"/>
                <a:gd name="connsiteX1" fmla="*/ 0 w 336565"/>
                <a:gd name="connsiteY1" fmla="*/ 0 h 702973"/>
                <a:gd name="connsiteX2" fmla="*/ 167648 w 336565"/>
                <a:gd name="connsiteY2" fmla="*/ 116845 h 702973"/>
                <a:gd name="connsiteX3" fmla="*/ 167648 w 336565"/>
                <a:gd name="connsiteY3" fmla="*/ 351804 h 702973"/>
                <a:gd name="connsiteX4" fmla="*/ 336566 w 336565"/>
                <a:gd name="connsiteY4" fmla="*/ 469284 h 702973"/>
                <a:gd name="connsiteX5" fmla="*/ 336566 w 336565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0" y="468649"/>
                  </a:moveTo>
                  <a:lnTo>
                    <a:pt x="0" y="0"/>
                  </a:lnTo>
                  <a:lnTo>
                    <a:pt x="167648" y="116845"/>
                  </a:ln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3" name="Freeform: Shape 382">
              <a:extLst>
                <a:ext uri="{FF2B5EF4-FFF2-40B4-BE49-F238E27FC236}">
                  <a16:creationId xmlns:a16="http://schemas.microsoft.com/office/drawing/2014/main" id="{B972119F-0120-4776-9177-4CA767ED76ED}"/>
                </a:ext>
              </a:extLst>
            </p:cNvPr>
            <p:cNvSpPr/>
            <p:nvPr/>
          </p:nvSpPr>
          <p:spPr>
            <a:xfrm>
              <a:off x="12010873" y="2007950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2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2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4" name="Freeform: Shape 383">
              <a:extLst>
                <a:ext uri="{FF2B5EF4-FFF2-40B4-BE49-F238E27FC236}">
                  <a16:creationId xmlns:a16="http://schemas.microsoft.com/office/drawing/2014/main" id="{AE34A160-7946-4FC7-BAD2-DF968F576F6C}"/>
                </a:ext>
              </a:extLst>
            </p:cNvPr>
            <p:cNvSpPr/>
            <p:nvPr/>
          </p:nvSpPr>
          <p:spPr>
            <a:xfrm>
              <a:off x="12012143" y="1888565"/>
              <a:ext cx="179857" cy="231784"/>
            </a:xfrm>
            <a:custGeom>
              <a:avLst/>
              <a:gdLst>
                <a:gd name="connsiteX0" fmla="*/ 166377 w 179857"/>
                <a:gd name="connsiteY0" fmla="*/ 0 h 231784"/>
                <a:gd name="connsiteX1" fmla="*/ 179857 w 179857"/>
                <a:gd name="connsiteY1" fmla="*/ 9293 h 231784"/>
                <a:gd name="connsiteX2" fmla="*/ 179857 w 179857"/>
                <a:gd name="connsiteY2" fmla="*/ 222440 h 231784"/>
                <a:gd name="connsiteX3" fmla="*/ 166377 w 179857"/>
                <a:gd name="connsiteY3" fmla="*/ 231784 h 231784"/>
                <a:gd name="connsiteX4" fmla="*/ 0 w 179857"/>
                <a:gd name="connsiteY4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857" h="231784">
                  <a:moveTo>
                    <a:pt x="166377" y="0"/>
                  </a:moveTo>
                  <a:lnTo>
                    <a:pt x="179857" y="9293"/>
                  </a:lnTo>
                  <a:lnTo>
                    <a:pt x="179857" y="222440"/>
                  </a:lnTo>
                  <a:lnTo>
                    <a:pt x="166377" y="231784"/>
                  </a:lnTo>
                  <a:lnTo>
                    <a:pt x="0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5" name="Freeform: Shape 384">
              <a:extLst>
                <a:ext uri="{FF2B5EF4-FFF2-40B4-BE49-F238E27FC236}">
                  <a16:creationId xmlns:a16="http://schemas.microsoft.com/office/drawing/2014/main" id="{14A39ADA-FD0C-420E-B35E-AC4C8DD9C418}"/>
                </a:ext>
              </a:extLst>
            </p:cNvPr>
            <p:cNvSpPr/>
            <p:nvPr/>
          </p:nvSpPr>
          <p:spPr>
            <a:xfrm>
              <a:off x="12182332" y="1171879"/>
              <a:ext cx="9669" cy="245878"/>
            </a:xfrm>
            <a:custGeom>
              <a:avLst/>
              <a:gdLst>
                <a:gd name="connsiteX0" fmla="*/ 9669 w 9669"/>
                <a:gd name="connsiteY0" fmla="*/ 0 h 245878"/>
                <a:gd name="connsiteX1" fmla="*/ 9669 w 9669"/>
                <a:gd name="connsiteY1" fmla="*/ 245878 h 245878"/>
                <a:gd name="connsiteX2" fmla="*/ 0 w 9669"/>
                <a:gd name="connsiteY2" fmla="*/ 239147 h 245878"/>
                <a:gd name="connsiteX3" fmla="*/ 0 w 9669"/>
                <a:gd name="connsiteY3" fmla="*/ 6728 h 245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69" h="245878">
                  <a:moveTo>
                    <a:pt x="9669" y="0"/>
                  </a:moveTo>
                  <a:lnTo>
                    <a:pt x="9669" y="245878"/>
                  </a:lnTo>
                  <a:lnTo>
                    <a:pt x="0" y="239147"/>
                  </a:lnTo>
                  <a:lnTo>
                    <a:pt x="0" y="6728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6" name="Freeform: Shape 385">
              <a:extLst>
                <a:ext uri="{FF2B5EF4-FFF2-40B4-BE49-F238E27FC236}">
                  <a16:creationId xmlns:a16="http://schemas.microsoft.com/office/drawing/2014/main" id="{02993F14-D86D-4693-9634-31DAF85CB00E}"/>
                </a:ext>
              </a:extLst>
            </p:cNvPr>
            <p:cNvSpPr/>
            <p:nvPr/>
          </p:nvSpPr>
          <p:spPr>
            <a:xfrm>
              <a:off x="12010873" y="696009"/>
              <a:ext cx="181127" cy="358769"/>
            </a:xfrm>
            <a:custGeom>
              <a:avLst/>
              <a:gdLst>
                <a:gd name="connsiteX0" fmla="*/ 181127 w 181127"/>
                <a:gd name="connsiteY0" fmla="*/ 0 h 358769"/>
                <a:gd name="connsiteX1" fmla="*/ 181127 w 181127"/>
                <a:gd name="connsiteY1" fmla="*/ 232664 h 358769"/>
                <a:gd name="connsiteX2" fmla="*/ 0 w 181127"/>
                <a:gd name="connsiteY2" fmla="*/ 358769 h 358769"/>
                <a:gd name="connsiteX3" fmla="*/ 0 w 181127"/>
                <a:gd name="connsiteY3" fmla="*/ 125079 h 358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127" h="358769">
                  <a:moveTo>
                    <a:pt x="181127" y="0"/>
                  </a:moveTo>
                  <a:lnTo>
                    <a:pt x="181127" y="232664"/>
                  </a:lnTo>
                  <a:lnTo>
                    <a:pt x="0" y="358769"/>
                  </a:lnTo>
                  <a:lnTo>
                    <a:pt x="0" y="1250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7" name="Freeform: Shape 386">
              <a:extLst>
                <a:ext uri="{FF2B5EF4-FFF2-40B4-BE49-F238E27FC236}">
                  <a16:creationId xmlns:a16="http://schemas.microsoft.com/office/drawing/2014/main" id="{2B84B4CA-E840-4345-AC03-108B7A72C639}"/>
                </a:ext>
              </a:extLst>
            </p:cNvPr>
            <p:cNvSpPr/>
            <p:nvPr/>
          </p:nvSpPr>
          <p:spPr>
            <a:xfrm>
              <a:off x="12010873" y="3534280"/>
              <a:ext cx="181127" cy="359061"/>
            </a:xfrm>
            <a:custGeom>
              <a:avLst/>
              <a:gdLst>
                <a:gd name="connsiteX0" fmla="*/ 181127 w 181127"/>
                <a:gd name="connsiteY0" fmla="*/ 0 h 359061"/>
                <a:gd name="connsiteX1" fmla="*/ 181127 w 181127"/>
                <a:gd name="connsiteY1" fmla="*/ 232957 h 359061"/>
                <a:gd name="connsiteX2" fmla="*/ 0 w 181127"/>
                <a:gd name="connsiteY2" fmla="*/ 359061 h 359061"/>
                <a:gd name="connsiteX3" fmla="*/ 0 w 181127"/>
                <a:gd name="connsiteY3" fmla="*/ 124737 h 359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127" h="359061">
                  <a:moveTo>
                    <a:pt x="181127" y="0"/>
                  </a:moveTo>
                  <a:lnTo>
                    <a:pt x="181127" y="232957"/>
                  </a:lnTo>
                  <a:lnTo>
                    <a:pt x="0" y="359061"/>
                  </a:lnTo>
                  <a:lnTo>
                    <a:pt x="0" y="124737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8" name="Freeform: Shape 387">
              <a:extLst>
                <a:ext uri="{FF2B5EF4-FFF2-40B4-BE49-F238E27FC236}">
                  <a16:creationId xmlns:a16="http://schemas.microsoft.com/office/drawing/2014/main" id="{256EFF7B-6FBE-414D-AC40-7A050865D57A}"/>
                </a:ext>
              </a:extLst>
            </p:cNvPr>
            <p:cNvSpPr/>
            <p:nvPr/>
          </p:nvSpPr>
          <p:spPr>
            <a:xfrm>
              <a:off x="12182332" y="2591161"/>
              <a:ext cx="9669" cy="245878"/>
            </a:xfrm>
            <a:custGeom>
              <a:avLst/>
              <a:gdLst>
                <a:gd name="connsiteX0" fmla="*/ 9669 w 9669"/>
                <a:gd name="connsiteY0" fmla="*/ 0 h 245878"/>
                <a:gd name="connsiteX1" fmla="*/ 9669 w 9669"/>
                <a:gd name="connsiteY1" fmla="*/ 245878 h 245878"/>
                <a:gd name="connsiteX2" fmla="*/ 0 w 9669"/>
                <a:gd name="connsiteY2" fmla="*/ 239147 h 245878"/>
                <a:gd name="connsiteX3" fmla="*/ 0 w 9669"/>
                <a:gd name="connsiteY3" fmla="*/ 6728 h 245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69" h="245878">
                  <a:moveTo>
                    <a:pt x="9669" y="0"/>
                  </a:moveTo>
                  <a:lnTo>
                    <a:pt x="9669" y="245878"/>
                  </a:lnTo>
                  <a:lnTo>
                    <a:pt x="0" y="239147"/>
                  </a:lnTo>
                  <a:lnTo>
                    <a:pt x="0" y="6728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9" name="Freeform: Shape 388">
              <a:extLst>
                <a:ext uri="{FF2B5EF4-FFF2-40B4-BE49-F238E27FC236}">
                  <a16:creationId xmlns:a16="http://schemas.microsoft.com/office/drawing/2014/main" id="{99E3681D-30CE-4966-8C39-7DC52E67339E}"/>
                </a:ext>
              </a:extLst>
            </p:cNvPr>
            <p:cNvSpPr/>
            <p:nvPr userDrawn="1"/>
          </p:nvSpPr>
          <p:spPr>
            <a:xfrm>
              <a:off x="12010873" y="2115291"/>
              <a:ext cx="181127" cy="358769"/>
            </a:xfrm>
            <a:custGeom>
              <a:avLst/>
              <a:gdLst>
                <a:gd name="connsiteX0" fmla="*/ 181127 w 181127"/>
                <a:gd name="connsiteY0" fmla="*/ 0 h 358769"/>
                <a:gd name="connsiteX1" fmla="*/ 181127 w 181127"/>
                <a:gd name="connsiteY1" fmla="*/ 232664 h 358769"/>
                <a:gd name="connsiteX2" fmla="*/ 0 w 181127"/>
                <a:gd name="connsiteY2" fmla="*/ 358769 h 358769"/>
                <a:gd name="connsiteX3" fmla="*/ 0 w 181127"/>
                <a:gd name="connsiteY3" fmla="*/ 125079 h 358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127" h="358769">
                  <a:moveTo>
                    <a:pt x="181127" y="0"/>
                  </a:moveTo>
                  <a:lnTo>
                    <a:pt x="181127" y="232664"/>
                  </a:lnTo>
                  <a:lnTo>
                    <a:pt x="0" y="358769"/>
                  </a:lnTo>
                  <a:lnTo>
                    <a:pt x="0" y="1250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0" name="Freeform: Shape 389">
              <a:extLst>
                <a:ext uri="{FF2B5EF4-FFF2-40B4-BE49-F238E27FC236}">
                  <a16:creationId xmlns:a16="http://schemas.microsoft.com/office/drawing/2014/main" id="{DAF59334-EE7F-45A9-A44F-43BE27EE5F4A}"/>
                </a:ext>
              </a:extLst>
            </p:cNvPr>
            <p:cNvSpPr/>
            <p:nvPr/>
          </p:nvSpPr>
          <p:spPr>
            <a:xfrm>
              <a:off x="12012143" y="933306"/>
              <a:ext cx="179857" cy="242125"/>
            </a:xfrm>
            <a:custGeom>
              <a:avLst/>
              <a:gdLst>
                <a:gd name="connsiteX0" fmla="*/ 179857 w 179857"/>
                <a:gd name="connsiteY0" fmla="*/ 0 h 242125"/>
                <a:gd name="connsiteX1" fmla="*/ 179857 w 179857"/>
                <a:gd name="connsiteY1" fmla="*/ 234076 h 242125"/>
                <a:gd name="connsiteX2" fmla="*/ 168283 w 179857"/>
                <a:gd name="connsiteY2" fmla="*/ 242125 h 242125"/>
                <a:gd name="connsiteX3" fmla="*/ 0 w 179857"/>
                <a:gd name="connsiteY3" fmla="*/ 124645 h 2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857" h="242125">
                  <a:moveTo>
                    <a:pt x="179857" y="0"/>
                  </a:moveTo>
                  <a:lnTo>
                    <a:pt x="179857" y="234076"/>
                  </a:lnTo>
                  <a:lnTo>
                    <a:pt x="168283" y="242125"/>
                  </a:lnTo>
                  <a:lnTo>
                    <a:pt x="0" y="12464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1" name="Freeform: Shape 390">
              <a:extLst>
                <a:ext uri="{FF2B5EF4-FFF2-40B4-BE49-F238E27FC236}">
                  <a16:creationId xmlns:a16="http://schemas.microsoft.com/office/drawing/2014/main" id="{A9BF5E58-59F7-450E-8083-A54DD5533A40}"/>
                </a:ext>
              </a:extLst>
            </p:cNvPr>
            <p:cNvSpPr/>
            <p:nvPr userDrawn="1"/>
          </p:nvSpPr>
          <p:spPr>
            <a:xfrm>
              <a:off x="12012143" y="2352249"/>
              <a:ext cx="179857" cy="242464"/>
            </a:xfrm>
            <a:custGeom>
              <a:avLst/>
              <a:gdLst>
                <a:gd name="connsiteX0" fmla="*/ 179857 w 179857"/>
                <a:gd name="connsiteY0" fmla="*/ 0 h 242464"/>
                <a:gd name="connsiteX1" fmla="*/ 179857 w 179857"/>
                <a:gd name="connsiteY1" fmla="*/ 234415 h 242464"/>
                <a:gd name="connsiteX2" fmla="*/ 168283 w 179857"/>
                <a:gd name="connsiteY2" fmla="*/ 242464 h 242464"/>
                <a:gd name="connsiteX3" fmla="*/ 0 w 179857"/>
                <a:gd name="connsiteY3" fmla="*/ 124984 h 242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857" h="242464">
                  <a:moveTo>
                    <a:pt x="179857" y="0"/>
                  </a:moveTo>
                  <a:lnTo>
                    <a:pt x="179857" y="234415"/>
                  </a:lnTo>
                  <a:lnTo>
                    <a:pt x="168283" y="242464"/>
                  </a:lnTo>
                  <a:lnTo>
                    <a:pt x="0" y="12498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6A190A09-38DF-44F3-867C-A471B79F10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51261" y="2832692"/>
            <a:ext cx="7140739" cy="4025309"/>
          </a:xfrm>
          <a:custGeom>
            <a:avLst/>
            <a:gdLst>
              <a:gd name="connsiteX0" fmla="*/ 5790363 w 7140739"/>
              <a:gd name="connsiteY0" fmla="*/ 0 h 4025309"/>
              <a:gd name="connsiteX1" fmla="*/ 7140739 w 7140739"/>
              <a:gd name="connsiteY1" fmla="*/ 938746 h 4025309"/>
              <a:gd name="connsiteX2" fmla="*/ 7140739 w 7140739"/>
              <a:gd name="connsiteY2" fmla="*/ 4025309 h 4025309"/>
              <a:gd name="connsiteX3" fmla="*/ 0 w 7140739"/>
              <a:gd name="connsiteY3" fmla="*/ 4025309 h 4025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40739" h="4025309">
                <a:moveTo>
                  <a:pt x="5790363" y="0"/>
                </a:moveTo>
                <a:lnTo>
                  <a:pt x="7140739" y="938746"/>
                </a:lnTo>
                <a:lnTo>
                  <a:pt x="7140739" y="4025309"/>
                </a:lnTo>
                <a:lnTo>
                  <a:pt x="0" y="402530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7" name="Freeform 17">
            <a:extLst>
              <a:ext uri="{FF2B5EF4-FFF2-40B4-BE49-F238E27FC236}">
                <a16:creationId xmlns:a16="http://schemas.microsoft.com/office/drawing/2014/main" id="{B6240B64-00A8-4FE7-AA5A-4A2F8B98F2A4}"/>
              </a:ext>
            </a:extLst>
          </p:cNvPr>
          <p:cNvSpPr/>
          <p:nvPr userDrawn="1"/>
        </p:nvSpPr>
        <p:spPr>
          <a:xfrm rot="3299037" flipH="1" flipV="1">
            <a:off x="5974493" y="4464643"/>
            <a:ext cx="316395" cy="3206138"/>
          </a:xfrm>
          <a:custGeom>
            <a:avLst/>
            <a:gdLst>
              <a:gd name="connsiteX0" fmla="*/ 316395 w 316395"/>
              <a:gd name="connsiteY0" fmla="*/ 3162580 h 3206138"/>
              <a:gd name="connsiteX1" fmla="*/ 0 w 316395"/>
              <a:gd name="connsiteY1" fmla="*/ 3206138 h 3206138"/>
              <a:gd name="connsiteX2" fmla="*/ 0 w 316395"/>
              <a:gd name="connsiteY2" fmla="*/ 451589 h 3206138"/>
              <a:gd name="connsiteX3" fmla="*/ 316395 w 316395"/>
              <a:gd name="connsiteY3" fmla="*/ 0 h 320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395" h="3206138">
                <a:moveTo>
                  <a:pt x="316395" y="3162580"/>
                </a:moveTo>
                <a:lnTo>
                  <a:pt x="0" y="3206138"/>
                </a:lnTo>
                <a:lnTo>
                  <a:pt x="0" y="451589"/>
                </a:lnTo>
                <a:lnTo>
                  <a:pt x="31639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EC4703DF-3E8F-47BA-BB4F-7408A471CBF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A6FAD8E-BF2F-4E8F-8FBC-5DBC65D769D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58F2F8-A64B-47AC-BB12-214DCFC4FE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000" y="388800"/>
            <a:ext cx="5868000" cy="9900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04C4781-1C6F-4AD7-ABBE-AF369B7688D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44000" y="2250000"/>
            <a:ext cx="5868000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80874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E31D0D1B-F029-4724-91D9-7B2EC70CC70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16AAC404-50AD-49DC-8CC0-C9AFE4997C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89C17C-E3C9-4300-878F-674F3FE9EA4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1360925D-64BD-4B3C-8A81-8518ADDBB2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42799" y="4412359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20383EBB-A0B3-47F7-87D6-8932F29B6F8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48799" y="4412359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390A7376-F8D9-485E-ACF1-C6D581D91DF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254798" y="4412359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38339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Text and Objec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E24698DA-4B02-4E60-99E2-B768DD7EF604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4910E85-A840-A34D-ACA6-7D1ECD49672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33661B-FDB1-4FD2-AA10-7509875192F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56BE9C3-9D24-4D01-BA4D-BF75A9D51FE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C100CA-D516-42FC-BC3F-FAC2BD900CA3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6DCDD012-C59E-408C-9BC6-87284E8CBC48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46798" y="2249827"/>
            <a:ext cx="5400000" cy="3096000"/>
          </a:xfrm>
          <a:prstGeom prst="rect">
            <a:avLst/>
          </a:prstGeom>
        </p:spPr>
        <p:txBody>
          <a:bodyPr anchor="ctr" anchorCtr="0"/>
          <a:lstStyle>
            <a:lvl1pPr algn="ctr"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CBDA8CD-2DCF-4C62-A004-4DB05419240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46798" y="5448612"/>
            <a:ext cx="5400000" cy="68921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2pPr>
            <a:lvl3pPr marL="269875" indent="-269875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  <a:defRPr sz="1400">
                <a:solidFill>
                  <a:schemeClr val="tx2"/>
                </a:solidFill>
              </a:defRPr>
            </a:lvl3pPr>
            <a:lvl4pPr marL="503238" indent="-233363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</a:defRPr>
            </a:lvl4pPr>
            <a:lvl5pPr marL="717550" indent="-193675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defRPr lang="en-GB" sz="105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insert chart commentar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64264AD-E771-4AD5-B1EE-AD1A80E2730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7AC1B6-E17D-439D-A681-3E7005DA409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B988B8B-FFD1-4F96-AC27-37F2C24F27E1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42799" y="2249827"/>
            <a:ext cx="540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567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22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F8F71B2-5038-4A52-B268-EFEFC6FA962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Table Placeholder 2">
            <a:extLst>
              <a:ext uri="{FF2B5EF4-FFF2-40B4-BE49-F238E27FC236}">
                <a16:creationId xmlns:a16="http://schemas.microsoft.com/office/drawing/2014/main" id="{B0D006F0-61D9-476E-AD83-77162C97648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42799" y="2249826"/>
            <a:ext cx="11304000" cy="3888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IN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7F41918F-AEF0-3549-9EA6-E7B6AA50A0F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8A1AF2-E8EC-4AF2-BE91-594808F11BA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039E2CB-9F37-473F-93FB-D42BBF5BAAA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D7842F8-F35D-4368-B212-80696337494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8BC242-7955-47DB-A884-23F7B8DC8A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1332265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F8F71B2-5038-4A52-B268-EFEFC6FA962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7F41918F-AEF0-3549-9EA6-E7B6AA50A0F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8A1AF2-E8EC-4AF2-BE91-594808F11BA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039E2CB-9F37-473F-93FB-D42BBF5BAAA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D7842F8-F35D-4368-B212-80696337494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8BC242-7955-47DB-A884-23F7B8DC8A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C54E401-1D0D-436B-85F4-4704AD03A9E8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42799" y="2249826"/>
            <a:ext cx="11304000" cy="388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643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22_Blank w/ Cor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FE41B66-E82D-4657-A737-E4FA8AC65A18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D9AC699-128E-45D5-B4BD-EAC43A48A49E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272390D-159B-4196-85C8-AA23F030744B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C6685164-D677-427B-80C8-FE067C72B49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BAFA92-4783-4C5A-8253-6644BF0A1D2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9206498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2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ADBF1773-246E-4C31-9EA7-4FD8C7D51459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FCA5AE9-16F5-49C5-B31D-EEE1E47188C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379C90-D03A-4E69-A2E9-B510124AEE82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4243936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From 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D9ABB7B-8CFC-469E-87BB-9D57F55E131D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E369FB11-7907-467F-8696-2250886D64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975645" y="2852103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endParaRPr lang="en-US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3431397E-CA6D-447B-89CE-7141F152235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913" y="2852103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481F11-552E-4AC1-B90D-84C47A0F5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913" y="2232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From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904BCC42-990A-4C9D-B509-29DF24C802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51600" y="2196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To</a:t>
            </a:r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DF459731-1012-4F51-AB8C-A81255FA384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69592" y="4016631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endParaRPr lang="en-US"/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02522068-1D86-4299-A574-347C2821CAF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912" y="4016631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89" name="Text Placeholder 88">
            <a:extLst>
              <a:ext uri="{FF2B5EF4-FFF2-40B4-BE49-F238E27FC236}">
                <a16:creationId xmlns:a16="http://schemas.microsoft.com/office/drawing/2014/main" id="{22D0734C-534D-4AAB-B46F-E3DC9C987D3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981700" y="5181159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endParaRPr lang="en-US"/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E3E31F3B-3F47-424E-9E3A-E3D439B3A60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196" y="5181159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D7F8775-4EFF-497B-A127-D347C4E65B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19C3E27-EA49-4C1F-88F7-145D73459B6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5950CD98-A671-4A84-BAA9-FF4FA6646D38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C7B8E5D-5373-4534-B7A6-D90C6CCED9DB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8231645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Big Number Lis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0117C252-9AE2-459C-9692-4C928EFCD04E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977456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977455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sz="14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601033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601033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sz="14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610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8" y="388845"/>
            <a:ext cx="11304000" cy="990000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522804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609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40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8992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5275650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0DE3D9A-5745-456B-8E35-49AEDDA27D34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CB7353E-1508-4EB2-B032-CFE0208BB6B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EC20A41-BC4E-4146-B326-26BC80025289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42811044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Big Number List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D25F7AE7-6644-470A-90CF-47B6F9F313F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530014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530014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27492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27492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Fusce posuere, magna sed pulvinar ultricies, purus lectus malesuada libero, sit amet commodo magna eros quis urna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249702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249702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t</a:t>
            </a:r>
            <a:r>
              <a:rPr lang="en-US"/>
              <a:t>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1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36067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481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buNone/>
              <a:defRPr lang="en-US" sz="1200" b="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38589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441111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543633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3E471F1E-DBD6-42B4-BC7F-68658494AEC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C2B1C5B1-DD5C-46BD-9171-3F3551A3196C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4B2A3D8-BFDF-4F41-AF46-F35B3FC27A8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9547127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Big Number List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C73C2D05-90CD-4A84-9996-5A713D7C0452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4082812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4082683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3276212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3276083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246961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2469483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amet, consectetuer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porttitor congue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lectus </a:t>
            </a:r>
            <a:r>
              <a:rPr lang="en-US" err="1"/>
              <a:t>malesuada</a:t>
            </a:r>
            <a:r>
              <a:rPr lang="en-US"/>
              <a:t> libero, sit amet </a:t>
            </a:r>
            <a:r>
              <a:rPr lang="en-US" err="1"/>
              <a:t>commodo</a:t>
            </a:r>
            <a:r>
              <a:rPr lang="en-US"/>
              <a:t>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1663011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1721754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1662883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buNone/>
              <a:defRPr sz="120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2528355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3334955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4141555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0" name="Text Placeholder 99">
            <a:extLst>
              <a:ext uri="{FF2B5EF4-FFF2-40B4-BE49-F238E27FC236}">
                <a16:creationId xmlns:a16="http://schemas.microsoft.com/office/drawing/2014/main" id="{F26204A4-94F4-4D0B-A32D-54BA8095E0E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3834" y="4889414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BC8A2927-6011-4622-A038-F2F7EAC093B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891363" y="488928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9" name="Text Placeholder 6">
            <a:extLst>
              <a:ext uri="{FF2B5EF4-FFF2-40B4-BE49-F238E27FC236}">
                <a16:creationId xmlns:a16="http://schemas.microsoft.com/office/drawing/2014/main" id="{7EA2F73C-E0F4-45B1-AB8F-530A19B4351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6415" y="494815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5</a:t>
            </a: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FCE79156-B96F-4F0A-B2E6-29388CAA0C8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95460F8E-68BE-4EED-81CC-C73F28ABEB6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36C93BA-B2DB-45DF-8168-9205478FAB4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663407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/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63B73004-4686-45A1-8274-41087C5FBFF1}"/>
              </a:ext>
            </a:extLst>
          </p:cNvPr>
          <p:cNvSpPr/>
          <p:nvPr/>
        </p:nvSpPr>
        <p:spPr>
          <a:xfrm>
            <a:off x="0" y="0"/>
            <a:ext cx="12192000" cy="20203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550EB56-F093-422F-88D0-09655BF64A6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2020306"/>
          </a:xfrm>
          <a:prstGeom prst="rect">
            <a:avLst/>
          </a:prstGeom>
        </p:spPr>
      </p:pic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650234-DD57-4C81-AB23-92FD51EEBD7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42799" y="2249826"/>
            <a:ext cx="11303999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58841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22_Profile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80487D53-597F-4F97-AFD7-4642703C2DA0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879880F-2137-47AB-9566-C8A09E1C8E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20775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14CCA4F3-8BB7-4518-8D07-F4EBBBD39F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1955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5A37B0B-0741-485F-996D-2A2215AD59C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1833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DB37BA3-47E7-413A-B0E7-2CD9DCDEE8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817119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0" name="Title 3">
            <a:extLst>
              <a:ext uri="{FF2B5EF4-FFF2-40B4-BE49-F238E27FC236}">
                <a16:creationId xmlns:a16="http://schemas.microsoft.com/office/drawing/2014/main" id="{E38D729D-5227-49D7-9785-1DC1DF806F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EB6EBEF1-2298-410B-9293-C27A9A420B8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EDF3697C-568B-4AA1-9EF3-9113E2541E2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799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20E879FB-0ECA-4094-A26D-0870481E46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41580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CB7EAE9F-C1C2-4E54-947F-1DAF3E582D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40361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A12F1173-5541-4125-8BBE-11308C342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39143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942C6F7-BF76-41F2-9314-4E67256E96B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174E6F3-834D-466B-90E1-E0AC0A9201E5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DD6F617-9647-465D-AF6F-DC346B76746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CB36714-818D-4C9A-A027-DF7559699983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F763012-A5D4-4F14-B146-970A28A8F8C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4942058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Prof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6B4F6363-4D60-4208-8FEE-B7F12EDD1C51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33084D-ACDD-6849-8479-977F2DBF36CB}"/>
              </a:ext>
            </a:extLst>
          </p:cNvPr>
          <p:cNvSpPr/>
          <p:nvPr/>
        </p:nvSpPr>
        <p:spPr>
          <a:xfrm rot="5400000">
            <a:off x="5215165" y="-3348040"/>
            <a:ext cx="1759270" cy="11304000"/>
          </a:xfrm>
          <a:prstGeom prst="rect">
            <a:avLst/>
          </a:prstGeom>
          <a:gradFill>
            <a:gsLst>
              <a:gs pos="27000">
                <a:schemeClr val="accent1">
                  <a:alpha val="5000"/>
                </a:schemeClr>
              </a:gs>
              <a:gs pos="90000">
                <a:schemeClr val="accent1">
                  <a:alpha val="5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DF5872F-F6BC-7841-B29A-4A0024AAA7BE}"/>
              </a:ext>
            </a:extLst>
          </p:cNvPr>
          <p:cNvCxnSpPr>
            <a:cxnSpLocks/>
          </p:cNvCxnSpPr>
          <p:nvPr/>
        </p:nvCxnSpPr>
        <p:spPr>
          <a:xfrm>
            <a:off x="466722" y="3166948"/>
            <a:ext cx="11304000" cy="0"/>
          </a:xfrm>
          <a:prstGeom prst="line">
            <a:avLst/>
          </a:prstGeom>
          <a:ln w="22225" cap="sq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0"/>
                  </a:schemeClr>
                </a:gs>
                <a:gs pos="88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E84A35F3-573F-493A-9BB5-CDB1871AE1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442947" y="1779999"/>
            <a:ext cx="3348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1A7CF413-A654-4EB4-B519-46AA63AE393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971045" y="1779999"/>
            <a:ext cx="378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0B4F379B-BC2F-4858-8C07-5C827C0314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31143" y="1779999"/>
            <a:ext cx="180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GB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GB"/>
              <a:t>Text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78E42CAB-23DC-47DC-8ECF-2DEDFC9864A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3605212"/>
            <a:ext cx="3816000" cy="259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 b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428F7AE9-B31F-43B5-8A13-DF6E9F2B3E7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89832" y="3605212"/>
            <a:ext cx="4310280" cy="259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F7B782AE-DD52-464C-8442-459CF5365BF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31144" y="3605214"/>
            <a:ext cx="2700000" cy="72759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4D0F1EE-038A-408D-8E1E-3FC455A38DB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EE4BB152-A459-44BC-9E2C-DCAF8F6F7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2303F9-44E1-4307-AC9F-379BF3BE72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560374B-2FEC-4C35-99AB-CEDF599EA0B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534277" y="1512514"/>
            <a:ext cx="1723431" cy="1582892"/>
          </a:xfrm>
          <a:prstGeom prst="rect">
            <a:avLst/>
          </a:prstGeom>
          <a:blipFill>
            <a:blip r:embed="rId4"/>
            <a:stretch>
              <a:fillRect t="-13941" b="-37632"/>
            </a:stretch>
          </a:blipFill>
        </p:spPr>
        <p:txBody>
          <a:bodyPr/>
          <a:lstStyle>
            <a:lvl1pPr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4888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6B4F6363-4D60-4208-8FEE-B7F12EDD1C51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E84A35F3-573F-493A-9BB5-CDB1871AE1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442947" y="1779999"/>
            <a:ext cx="3348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1A7CF413-A654-4EB4-B519-46AA63AE393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971045" y="1779999"/>
            <a:ext cx="378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0B4F379B-BC2F-4858-8C07-5C827C0314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31143" y="1779999"/>
            <a:ext cx="180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GB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GB"/>
              <a:t>Text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78E42CAB-23DC-47DC-8ECF-2DEDFC9864A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3605212"/>
            <a:ext cx="3816000" cy="259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 b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428F7AE9-B31F-43B5-8A13-DF6E9F2B3E7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89832" y="3605212"/>
            <a:ext cx="4310280" cy="259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F7B782AE-DD52-464C-8442-459CF5365BF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31144" y="3605214"/>
            <a:ext cx="2700000" cy="72759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4D0F1EE-038A-408D-8E1E-3FC455A38DB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EE4BB152-A459-44BC-9E2C-DCAF8F6F7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2303F9-44E1-4307-AC9F-379BF3BE72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40" name="Picture Placeholder 16">
            <a:extLst>
              <a:ext uri="{FF2B5EF4-FFF2-40B4-BE49-F238E27FC236}">
                <a16:creationId xmlns:a16="http://schemas.microsoft.com/office/drawing/2014/main" id="{4E722CF8-E930-4BEA-A60F-E0E575C70C78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864302" y="155545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rcRect/>
            <a:stretch>
              <a:fillRect/>
            </a:stretch>
          </a:blipFill>
          <a:ln w="15875">
            <a:solidFill>
              <a:schemeClr val="accent2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19950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Quo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21DB09EE-E3C0-42FD-A544-DC5343F278E7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2777213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tx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9409A921-69CE-4E73-8C64-4D322B88B0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65DC36-62B1-4EA9-8B58-1F8769E3773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3007309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22_Quotation w/ Headsho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A8ECDA57-4871-4435-81EA-BBB8E5FB2618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tx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20BDA3C6-2C55-4EC0-92A0-2FA57310BA2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481011" y="1617885"/>
            <a:ext cx="1224430" cy="1298310"/>
          </a:xfrm>
          <a:prstGeom prst="rect">
            <a:avLst/>
          </a:pr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rcRect/>
            <a:stretch>
              <a:fillRect/>
            </a:stretch>
          </a:blipFill>
          <a:ln w="31750">
            <a:noFill/>
          </a:ln>
          <a:effectLst/>
        </p:spPr>
        <p:txBody>
          <a:bodyPr wrap="square" lIns="72000" anchor="t" anchorCtr="0">
            <a:noAutofit/>
          </a:bodyPr>
          <a:lstStyle>
            <a:lvl1pPr marL="0" indent="0" algn="l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Insert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B4BFA0FB-D432-426F-97B1-7818E24264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44762EA-DFCD-4F24-9797-407D63DA917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7612563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xagon Headsho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025C197D-310C-47A9-8449-B4DBCA42512D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tx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DFB4B834-C56F-490A-BC1C-C54AB928B9E4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61536" y="151853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rcRect/>
            <a:stretch>
              <a:fillRect/>
            </a:stretch>
          </a:blipFill>
          <a:ln w="15875">
            <a:solidFill>
              <a:srgbClr val="00AECF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1CF07C63-A834-4BF2-9FCB-33E559B5F4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B678BD-E31D-4A5B-A4E4-810EC221D82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4979846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B9B8EA-2AC0-486B-955D-5AFD90844E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E7F6BA-6FF3-4807-A992-128446656EBE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4196769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145BBAF5-9F92-4F54-8CD3-F45AB97454E0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998EA4DB-4218-498A-AEC4-23CC43FE457F}"/>
              </a:ext>
            </a:extLst>
          </p:cNvPr>
          <p:cNvSpPr/>
          <p:nvPr userDrawn="1"/>
        </p:nvSpPr>
        <p:spPr>
          <a:xfrm>
            <a:off x="4490359" y="2049775"/>
            <a:ext cx="1592941" cy="1808204"/>
          </a:xfrm>
          <a:custGeom>
            <a:avLst/>
            <a:gdLst>
              <a:gd name="connsiteX0" fmla="*/ 1606503 w 1592941"/>
              <a:gd name="connsiteY0" fmla="*/ 0 h 1808203"/>
              <a:gd name="connsiteX1" fmla="*/ 1606503 w 1592941"/>
              <a:gd name="connsiteY1" fmla="*/ 1358090 h 1808203"/>
              <a:gd name="connsiteX2" fmla="*/ 972555 w 1592941"/>
              <a:gd name="connsiteY2" fmla="*/ 1804114 h 1808203"/>
              <a:gd name="connsiteX3" fmla="*/ 972555 w 1592941"/>
              <a:gd name="connsiteY3" fmla="*/ 1809065 h 1808203"/>
              <a:gd name="connsiteX4" fmla="*/ 0 w 1592941"/>
              <a:gd name="connsiteY4" fmla="*/ 1130127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2941" h="1808203">
                <a:moveTo>
                  <a:pt x="1606503" y="0"/>
                </a:moveTo>
                <a:lnTo>
                  <a:pt x="1606503" y="1358090"/>
                </a:lnTo>
                <a:lnTo>
                  <a:pt x="972555" y="1804114"/>
                </a:lnTo>
                <a:lnTo>
                  <a:pt x="972555" y="1809065"/>
                </a:lnTo>
                <a:lnTo>
                  <a:pt x="0" y="1130127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68B9C2E-6668-4C07-95F1-CB22EEC5D65E}"/>
              </a:ext>
            </a:extLst>
          </p:cNvPr>
          <p:cNvSpPr/>
          <p:nvPr userDrawn="1"/>
        </p:nvSpPr>
        <p:spPr>
          <a:xfrm>
            <a:off x="6096862" y="2046977"/>
            <a:ext cx="1614467" cy="1808204"/>
          </a:xfrm>
          <a:custGeom>
            <a:avLst/>
            <a:gdLst>
              <a:gd name="connsiteX0" fmla="*/ 1615113 w 1614467"/>
              <a:gd name="connsiteY0" fmla="*/ 1138953 h 1808203"/>
              <a:gd name="connsiteX1" fmla="*/ 1615113 w 1614467"/>
              <a:gd name="connsiteY1" fmla="*/ 1139168 h 1808203"/>
              <a:gd name="connsiteX2" fmla="*/ 633947 w 1614467"/>
              <a:gd name="connsiteY2" fmla="*/ 1818321 h 1808203"/>
              <a:gd name="connsiteX3" fmla="*/ 633947 w 1614467"/>
              <a:gd name="connsiteY3" fmla="*/ 1806912 h 1808203"/>
              <a:gd name="connsiteX4" fmla="*/ 1507 w 1614467"/>
              <a:gd name="connsiteY4" fmla="*/ 1359812 h 1808203"/>
              <a:gd name="connsiteX5" fmla="*/ 0 w 1614467"/>
              <a:gd name="connsiteY5" fmla="*/ 1360889 h 1808203"/>
              <a:gd name="connsiteX6" fmla="*/ 0 w 1614467"/>
              <a:gd name="connsiteY6" fmla="*/ 2798 h 1808203"/>
              <a:gd name="connsiteX7" fmla="*/ 3875 w 1614467"/>
              <a:gd name="connsiteY7" fmla="*/ 0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14467" h="1808203">
                <a:moveTo>
                  <a:pt x="1615113" y="1138953"/>
                </a:moveTo>
                <a:lnTo>
                  <a:pt x="1615113" y="1139168"/>
                </a:lnTo>
                <a:lnTo>
                  <a:pt x="633947" y="1818321"/>
                </a:lnTo>
                <a:lnTo>
                  <a:pt x="633947" y="1806912"/>
                </a:lnTo>
                <a:lnTo>
                  <a:pt x="1507" y="1359812"/>
                </a:lnTo>
                <a:lnTo>
                  <a:pt x="0" y="1360889"/>
                </a:lnTo>
                <a:lnTo>
                  <a:pt x="0" y="2798"/>
                </a:lnTo>
                <a:lnTo>
                  <a:pt x="3875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42C4371-8AB2-4223-BBB9-9B8FF4C11085}"/>
              </a:ext>
            </a:extLst>
          </p:cNvPr>
          <p:cNvSpPr/>
          <p:nvPr userDrawn="1"/>
        </p:nvSpPr>
        <p:spPr>
          <a:xfrm>
            <a:off x="6722414" y="3186145"/>
            <a:ext cx="968680" cy="2238728"/>
          </a:xfrm>
          <a:custGeom>
            <a:avLst/>
            <a:gdLst>
              <a:gd name="connsiteX0" fmla="*/ 989561 w 968680"/>
              <a:gd name="connsiteY0" fmla="*/ 0 h 2238728"/>
              <a:gd name="connsiteX1" fmla="*/ 989561 w 968680"/>
              <a:gd name="connsiteY1" fmla="*/ 2238083 h 2238728"/>
              <a:gd name="connsiteX2" fmla="*/ 986117 w 968680"/>
              <a:gd name="connsiteY2" fmla="*/ 2240451 h 2238728"/>
              <a:gd name="connsiteX3" fmla="*/ 0 w 968680"/>
              <a:gd name="connsiteY3" fmla="*/ 1552041 h 2238728"/>
              <a:gd name="connsiteX4" fmla="*/ 8395 w 968680"/>
              <a:gd name="connsiteY4" fmla="*/ 1546229 h 2238728"/>
              <a:gd name="connsiteX5" fmla="*/ 8395 w 968680"/>
              <a:gd name="connsiteY5" fmla="*/ 679153 h 2238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8680" h="2238728">
                <a:moveTo>
                  <a:pt x="989561" y="0"/>
                </a:moveTo>
                <a:lnTo>
                  <a:pt x="989561" y="2238083"/>
                </a:lnTo>
                <a:lnTo>
                  <a:pt x="986117" y="2240451"/>
                </a:lnTo>
                <a:lnTo>
                  <a:pt x="0" y="1552041"/>
                </a:lnTo>
                <a:lnTo>
                  <a:pt x="8395" y="1546229"/>
                </a:lnTo>
                <a:lnTo>
                  <a:pt x="8395" y="679153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4ECC8C-1257-4D1B-B1F3-8689EED79010}"/>
              </a:ext>
            </a:extLst>
          </p:cNvPr>
          <p:cNvSpPr/>
          <p:nvPr userDrawn="1"/>
        </p:nvSpPr>
        <p:spPr>
          <a:xfrm>
            <a:off x="6096862" y="4738186"/>
            <a:ext cx="1592941" cy="1765151"/>
          </a:xfrm>
          <a:custGeom>
            <a:avLst/>
            <a:gdLst>
              <a:gd name="connsiteX0" fmla="*/ 1611669 w 1592941"/>
              <a:gd name="connsiteY0" fmla="*/ 688409 h 1765151"/>
              <a:gd name="connsiteX1" fmla="*/ 0 w 1592941"/>
              <a:gd name="connsiteY1" fmla="*/ 1785386 h 1765151"/>
              <a:gd name="connsiteX2" fmla="*/ 0 w 1592941"/>
              <a:gd name="connsiteY2" fmla="*/ 425574 h 1765151"/>
              <a:gd name="connsiteX3" fmla="*/ 625552 w 1592941"/>
              <a:gd name="connsiteY3" fmla="*/ 0 h 1765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65151">
                <a:moveTo>
                  <a:pt x="1611669" y="688409"/>
                </a:moveTo>
                <a:lnTo>
                  <a:pt x="0" y="1785386"/>
                </a:lnTo>
                <a:lnTo>
                  <a:pt x="0" y="425574"/>
                </a:lnTo>
                <a:lnTo>
                  <a:pt x="625552" y="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D7F8349-ACC4-4383-99B6-33AAF0248346}"/>
              </a:ext>
            </a:extLst>
          </p:cNvPr>
          <p:cNvSpPr/>
          <p:nvPr userDrawn="1"/>
        </p:nvSpPr>
        <p:spPr>
          <a:xfrm>
            <a:off x="4489713" y="4734957"/>
            <a:ext cx="1592941" cy="1786677"/>
          </a:xfrm>
          <a:custGeom>
            <a:avLst/>
            <a:gdLst>
              <a:gd name="connsiteX0" fmla="*/ 1607149 w 1592941"/>
              <a:gd name="connsiteY0" fmla="*/ 428803 h 1786677"/>
              <a:gd name="connsiteX1" fmla="*/ 1607149 w 1592941"/>
              <a:gd name="connsiteY1" fmla="*/ 1788615 h 1786677"/>
              <a:gd name="connsiteX2" fmla="*/ 0 w 1592941"/>
              <a:gd name="connsiteY2" fmla="*/ 681521 h 1786677"/>
              <a:gd name="connsiteX3" fmla="*/ 984610 w 1592941"/>
              <a:gd name="connsiteY3" fmla="*/ 0 h 1786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86677">
                <a:moveTo>
                  <a:pt x="1607149" y="428803"/>
                </a:moveTo>
                <a:lnTo>
                  <a:pt x="1607149" y="1788615"/>
                </a:lnTo>
                <a:lnTo>
                  <a:pt x="0" y="681521"/>
                </a:lnTo>
                <a:lnTo>
                  <a:pt x="984610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1F91A86-A4FE-4EEA-95A9-ABA2D725D4B1}"/>
              </a:ext>
            </a:extLst>
          </p:cNvPr>
          <p:cNvSpPr/>
          <p:nvPr userDrawn="1"/>
        </p:nvSpPr>
        <p:spPr>
          <a:xfrm>
            <a:off x="4481748" y="3179902"/>
            <a:ext cx="990207" cy="2217202"/>
          </a:xfrm>
          <a:custGeom>
            <a:avLst/>
            <a:gdLst>
              <a:gd name="connsiteX0" fmla="*/ 992575 w 990206"/>
              <a:gd name="connsiteY0" fmla="*/ 1555055 h 2217202"/>
              <a:gd name="connsiteX1" fmla="*/ 7965 w 990206"/>
              <a:gd name="connsiteY1" fmla="*/ 2236576 h 2217202"/>
              <a:gd name="connsiteX2" fmla="*/ 0 w 990206"/>
              <a:gd name="connsiteY2" fmla="*/ 2231194 h 2217202"/>
              <a:gd name="connsiteX3" fmla="*/ 0 w 990206"/>
              <a:gd name="connsiteY3" fmla="*/ 6027 h 2217202"/>
              <a:gd name="connsiteX4" fmla="*/ 8610 w 990206"/>
              <a:gd name="connsiteY4" fmla="*/ 0 h 2217202"/>
              <a:gd name="connsiteX5" fmla="*/ 981166 w 990206"/>
              <a:gd name="connsiteY5" fmla="*/ 678937 h 2217202"/>
              <a:gd name="connsiteX6" fmla="*/ 981166 w 990206"/>
              <a:gd name="connsiteY6" fmla="*/ 1547091 h 2217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206" h="2217202">
                <a:moveTo>
                  <a:pt x="992575" y="1555055"/>
                </a:moveTo>
                <a:lnTo>
                  <a:pt x="7965" y="2236576"/>
                </a:lnTo>
                <a:lnTo>
                  <a:pt x="0" y="2231194"/>
                </a:lnTo>
                <a:lnTo>
                  <a:pt x="0" y="6027"/>
                </a:lnTo>
                <a:lnTo>
                  <a:pt x="8610" y="0"/>
                </a:lnTo>
                <a:lnTo>
                  <a:pt x="981166" y="678937"/>
                </a:lnTo>
                <a:lnTo>
                  <a:pt x="981166" y="1547091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F71D921D-E815-F843-8D83-B6C3C16439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 userDrawn="1"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9" name="Text Placeholder 22">
            <a:extLst>
              <a:ext uri="{FF2B5EF4-FFF2-40B4-BE49-F238E27FC236}">
                <a16:creationId xmlns:a16="http://schemas.microsoft.com/office/drawing/2014/main" id="{9C2C73CC-7BBA-4AB5-9F31-7A9948DD02C7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0" name="Text Placeholder 22">
            <a:extLst>
              <a:ext uri="{FF2B5EF4-FFF2-40B4-BE49-F238E27FC236}">
                <a16:creationId xmlns:a16="http://schemas.microsoft.com/office/drawing/2014/main" id="{ACF8BC36-C25E-4E14-81DD-43E6AD7F43E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42799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47" name="Text Placeholder 22">
            <a:extLst>
              <a:ext uri="{FF2B5EF4-FFF2-40B4-BE49-F238E27FC236}">
                <a16:creationId xmlns:a16="http://schemas.microsoft.com/office/drawing/2014/main" id="{8ED2000C-3948-4295-8AB2-77B8EA5FC36E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442799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9" name="Text Placeholder 22">
            <a:extLst>
              <a:ext uri="{FF2B5EF4-FFF2-40B4-BE49-F238E27FC236}">
                <a16:creationId xmlns:a16="http://schemas.microsoft.com/office/drawing/2014/main" id="{CAEC8480-4C52-4DF4-9AA5-B6002C4CF189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442799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0" name="Text Placeholder 22">
            <a:extLst>
              <a:ext uri="{FF2B5EF4-FFF2-40B4-BE49-F238E27FC236}">
                <a16:creationId xmlns:a16="http://schemas.microsoft.com/office/drawing/2014/main" id="{CC93A6C9-814A-45DA-9A94-78668198253B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442799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1" name="Text Placeholder 22">
            <a:extLst>
              <a:ext uri="{FF2B5EF4-FFF2-40B4-BE49-F238E27FC236}">
                <a16:creationId xmlns:a16="http://schemas.microsoft.com/office/drawing/2014/main" id="{BCC769DA-6390-4C7E-A4D7-0169214C1BD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442799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2" name="Text Placeholder 22">
            <a:extLst>
              <a:ext uri="{FF2B5EF4-FFF2-40B4-BE49-F238E27FC236}">
                <a16:creationId xmlns:a16="http://schemas.microsoft.com/office/drawing/2014/main" id="{17FB0337-BD14-4336-B29B-3DCE71A60C79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8316410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663F0B75-7DCF-4676-8D96-0F13787305EA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8316410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772D1169-69D6-46E6-8422-F6D62FEC420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16410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325DA6B-3F84-4F11-8E5F-18FF0C5E2C04}"/>
              </a:ext>
            </a:extLst>
          </p:cNvPr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8316410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69" name="Text Placeholder 22">
            <a:extLst>
              <a:ext uri="{FF2B5EF4-FFF2-40B4-BE49-F238E27FC236}">
                <a16:creationId xmlns:a16="http://schemas.microsoft.com/office/drawing/2014/main" id="{F3D91CB9-9423-4706-8307-13B75842526C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8316410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70" name="Text Placeholder 22">
            <a:extLst>
              <a:ext uri="{FF2B5EF4-FFF2-40B4-BE49-F238E27FC236}">
                <a16:creationId xmlns:a16="http://schemas.microsoft.com/office/drawing/2014/main" id="{BBDBFD81-3F25-45C4-931C-C83C44642FA1}"/>
              </a:ext>
            </a:extLst>
          </p:cNvPr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8316410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71" name="Text Placeholder 22">
            <a:extLst>
              <a:ext uri="{FF2B5EF4-FFF2-40B4-BE49-F238E27FC236}">
                <a16:creationId xmlns:a16="http://schemas.microsoft.com/office/drawing/2014/main" id="{8AF38639-9E42-4E6E-B553-2E71FACE72C6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 rot="19506392">
            <a:off x="4707211" y="2532499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2" name="Text Placeholder 22">
            <a:extLst>
              <a:ext uri="{FF2B5EF4-FFF2-40B4-BE49-F238E27FC236}">
                <a16:creationId xmlns:a16="http://schemas.microsoft.com/office/drawing/2014/main" id="{79D5FF8B-3DD9-4FCF-BC25-11B5B708C5C5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 rot="2116930">
            <a:off x="5943838" y="252371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3" name="Text Placeholder 22">
            <a:extLst>
              <a:ext uri="{FF2B5EF4-FFF2-40B4-BE49-F238E27FC236}">
                <a16:creationId xmlns:a16="http://schemas.microsoft.com/office/drawing/2014/main" id="{D62B37A5-61DE-4BC5-AC73-372745F00D33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 rot="5400000">
            <a:off x="6525291" y="3822312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4" name="Text Placeholder 22">
            <a:extLst>
              <a:ext uri="{FF2B5EF4-FFF2-40B4-BE49-F238E27FC236}">
                <a16:creationId xmlns:a16="http://schemas.microsoft.com/office/drawing/2014/main" id="{BF3E3C32-F259-4D5B-A786-01B702121B05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 rot="19561147">
            <a:off x="5958993" y="510039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5" name="Text Placeholder 22">
            <a:extLst>
              <a:ext uri="{FF2B5EF4-FFF2-40B4-BE49-F238E27FC236}">
                <a16:creationId xmlns:a16="http://schemas.microsoft.com/office/drawing/2014/main" id="{C177F396-C670-417E-A13A-5F5DC906BB47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 rot="2089401">
            <a:off x="4714637" y="5104414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6" name="Text Placeholder 22">
            <a:extLst>
              <a:ext uri="{FF2B5EF4-FFF2-40B4-BE49-F238E27FC236}">
                <a16:creationId xmlns:a16="http://schemas.microsoft.com/office/drawing/2014/main" id="{4B383110-BE85-43CD-BC20-B568C760864C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 rot="16200000">
            <a:off x="4110812" y="3845473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6052DF19-9D96-4A54-8FA3-46C146C0B5F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F5943707-01DA-43C9-BA1F-E7EE0E7D2359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2" name="Footer Placeholder 3">
            <a:extLst>
              <a:ext uri="{FF2B5EF4-FFF2-40B4-BE49-F238E27FC236}">
                <a16:creationId xmlns:a16="http://schemas.microsoft.com/office/drawing/2014/main" id="{70C02C76-34C0-477D-9B7A-973364A4E2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5A932B5-1139-4503-A7E7-6CD9AAADD06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8768171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hombus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98514DF3-2565-4D9A-BBC5-70C09D78F24E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10E4203-08E6-4418-AD09-B8D9334C0A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1450" y="1905000"/>
            <a:ext cx="4229100" cy="4393282"/>
          </a:xfrm>
          <a:prstGeom prst="rect">
            <a:avLst/>
          </a:prstGeom>
        </p:spPr>
      </p:pic>
      <p:sp>
        <p:nvSpPr>
          <p:cNvPr id="109" name="Text Placeholder 22">
            <a:extLst>
              <a:ext uri="{FF2B5EF4-FFF2-40B4-BE49-F238E27FC236}">
                <a16:creationId xmlns:a16="http://schemas.microsoft.com/office/drawing/2014/main" id="{FBCEB81F-942E-4E7A-BE5F-A71E6B6C7C8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 rot="19531667">
            <a:off x="6418611" y="4299467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4" name="Text Placeholder 22">
            <a:extLst>
              <a:ext uri="{FF2B5EF4-FFF2-40B4-BE49-F238E27FC236}">
                <a16:creationId xmlns:a16="http://schemas.microsoft.com/office/drawing/2014/main" id="{5739B760-04F1-4E96-9625-86162A24023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 rot="2012338">
            <a:off x="4209576" y="4269079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7" name="Text Placeholder 22">
            <a:extLst>
              <a:ext uri="{FF2B5EF4-FFF2-40B4-BE49-F238E27FC236}">
                <a16:creationId xmlns:a16="http://schemas.microsoft.com/office/drawing/2014/main" id="{474ED7E6-58E4-4601-9048-F4C3A2B3CCD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2090804">
            <a:off x="6086947" y="265589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7" name="Text Placeholder 22">
            <a:extLst>
              <a:ext uri="{FF2B5EF4-FFF2-40B4-BE49-F238E27FC236}">
                <a16:creationId xmlns:a16="http://schemas.microsoft.com/office/drawing/2014/main" id="{62163FF3-A63D-42A2-B8D8-9D1C745B053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 rot="19584229">
            <a:off x="4526147" y="269911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F71D921D-E815-F843-8D83-B6C3C16439D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DF03B141-FBCC-436D-AD9E-F8C15119CD63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70AE0952-39FD-4454-AAE2-8F8D40805849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166203CE-87B2-4997-9914-45C7469F3E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BF824F2-B806-4A94-975B-1090A135866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367043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quares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20435A45-8C6C-4A21-A06B-488E748A9CE8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rgbClr val="00AECF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rgbClr val="10548C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rgbClr val="FF555F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6B5300-F1CB-4EEB-8CC9-08A24B4A917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088657" y="2232878"/>
            <a:ext cx="1944000" cy="187200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E8187A81-DCD4-420F-A0D8-52FE345F75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B7E4039A-915B-41DC-A4D1-8E2D00283E4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F5BD438B-55CB-42C1-B923-77D8B42E6907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D0E62E42-E5B5-4D67-854C-182B2B1B94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E9E16FD-31D4-403C-98C8-58ACE1EB9DC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3614C4F9-57DD-410E-BC94-BCE40DDA85E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181219" y="2232878"/>
            <a:ext cx="1944000" cy="1872000"/>
          </a:xfrm>
          <a:prstGeom prst="rect">
            <a:avLst/>
          </a:prstGeom>
          <a:solidFill>
            <a:schemeClr val="accent3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397A3EC-F218-4325-BAC9-F15E16EFBDE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088657" y="4246307"/>
            <a:ext cx="1944000" cy="1872000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F840943-A169-4345-A64D-496EA67778E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81219" y="4246307"/>
            <a:ext cx="1944000" cy="187200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9090004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63B73004-4686-45A1-8274-41087C5FBFF1}"/>
              </a:ext>
            </a:extLst>
          </p:cNvPr>
          <p:cNvSpPr/>
          <p:nvPr/>
        </p:nvSpPr>
        <p:spPr>
          <a:xfrm>
            <a:off x="0" y="0"/>
            <a:ext cx="12192000" cy="20203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550EB56-F093-422F-88D0-09655BF64A6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2020306"/>
          </a:xfrm>
          <a:prstGeom prst="rect">
            <a:avLst/>
          </a:prstGeom>
        </p:spPr>
      </p:pic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6443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&amp;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CD05D69A-5D1E-41AB-A32E-404585972AA7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880895D5-6A9D-45D9-84A5-B48C071FA6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2E4D74C-410E-483B-833E-4D7AE804ABE2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883744C2-8338-4510-922E-8171C1DBABC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B42B4048-3937-457B-8213-80A2A3628E05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D7BBE5E-1B61-4CA3-801A-918DA43350A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7858580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ase Study w/ Icon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A701FB85-C272-4F67-9376-36F249DCAFBF}"/>
              </a:ext>
            </a:extLst>
          </p:cNvPr>
          <p:cNvSpPr/>
          <p:nvPr/>
        </p:nvSpPr>
        <p:spPr>
          <a:xfrm>
            <a:off x="3020406" y="0"/>
            <a:ext cx="917159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1ED8F4F-C0B6-428A-8156-2EAE02418D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44302" y="2408983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sz="1400" b="1">
                <a:solidFill>
                  <a:schemeClr val="accent3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2219E8E-B81B-42A6-9777-5061C48EB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72011" y="4427669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sz="1400"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D3371-D5A0-444B-8039-E662C6EAB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44302" y="390296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572974" y="0"/>
            <a:ext cx="1205113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00D3F3F-CEDE-AA4A-B072-12C37EE83EF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A23EC76-A22A-47BD-BB6E-CAADBA2F82A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4671103-7E79-47FF-8825-80F398220656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109B9F4C-9DEC-4C04-B351-C0AF80F0C2A2}"/>
              </a:ext>
            </a:extLst>
          </p:cNvPr>
          <p:cNvSpPr/>
          <p:nvPr userDrawn="1"/>
        </p:nvSpPr>
        <p:spPr>
          <a:xfrm>
            <a:off x="5172251" y="369031"/>
            <a:ext cx="377904" cy="521508"/>
          </a:xfrm>
          <a:custGeom>
            <a:avLst/>
            <a:gdLst>
              <a:gd name="connsiteX0" fmla="*/ 0 w 1600010"/>
              <a:gd name="connsiteY0" fmla="*/ 564484 h 2208014"/>
              <a:gd name="connsiteX1" fmla="*/ 801499 w 1600010"/>
              <a:gd name="connsiteY1" fmla="*/ 0 h 2208014"/>
              <a:gd name="connsiteX2" fmla="*/ 1600650 w 1600010"/>
              <a:gd name="connsiteY2" fmla="*/ 564484 h 2208014"/>
              <a:gd name="connsiteX3" fmla="*/ 1600650 w 1600010"/>
              <a:gd name="connsiteY3" fmla="*/ 1673611 h 2208014"/>
              <a:gd name="connsiteX4" fmla="*/ 800325 w 1600010"/>
              <a:gd name="connsiteY4" fmla="*/ 2218361 h 2208014"/>
              <a:gd name="connsiteX5" fmla="*/ 0 w 1600010"/>
              <a:gd name="connsiteY5" fmla="*/ 1666998 h 2208014"/>
              <a:gd name="connsiteX6" fmla="*/ 0 w 1600010"/>
              <a:gd name="connsiteY6" fmla="*/ 564484 h 2208014"/>
              <a:gd name="connsiteX7" fmla="*/ 0 w 1600010"/>
              <a:gd name="connsiteY7" fmla="*/ 564484 h 2208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00010" h="2208014">
                <a:moveTo>
                  <a:pt x="0" y="564484"/>
                </a:moveTo>
                <a:lnTo>
                  <a:pt x="801499" y="0"/>
                </a:lnTo>
                <a:lnTo>
                  <a:pt x="1600650" y="564484"/>
                </a:lnTo>
                <a:lnTo>
                  <a:pt x="1600650" y="1673611"/>
                </a:lnTo>
                <a:lnTo>
                  <a:pt x="800325" y="2218361"/>
                </a:lnTo>
                <a:lnTo>
                  <a:pt x="0" y="1666998"/>
                </a:lnTo>
                <a:lnTo>
                  <a:pt x="0" y="564484"/>
                </a:lnTo>
                <a:lnTo>
                  <a:pt x="0" y="56448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wordArtVert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Cambria" panose="02040503050406030204" pitchFamily="18" charset="0"/>
              <a:cs typeface="+mn-cs"/>
            </a:endParaRP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1F1A1A7D-1BE7-41E8-AC2D-AE6B08947B2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5227853" y="477385"/>
            <a:ext cx="266700" cy="3048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EE4C06B-38BA-4258-A35B-A740ADC05DF2}"/>
              </a:ext>
            </a:extLst>
          </p:cNvPr>
          <p:cNvGrpSpPr/>
          <p:nvPr userDrawn="1"/>
        </p:nvGrpSpPr>
        <p:grpSpPr>
          <a:xfrm>
            <a:off x="5199960" y="4427669"/>
            <a:ext cx="377904" cy="521508"/>
            <a:chOff x="5302993" y="4340636"/>
            <a:chExt cx="377904" cy="521508"/>
          </a:xfrm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90BBA3B-007E-49C2-B8B9-A965F9165FC7}"/>
                </a:ext>
              </a:extLst>
            </p:cNvPr>
            <p:cNvSpPr/>
            <p:nvPr userDrawn="1"/>
          </p:nvSpPr>
          <p:spPr>
            <a:xfrm>
              <a:off x="5302993" y="434063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C0C001C4-EE98-4465-8B7B-D8A818ED696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5367950" y="4472435"/>
              <a:ext cx="247990" cy="257910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F5648FF-6840-4E1E-B545-5ECC7A2C57F2}"/>
              </a:ext>
            </a:extLst>
          </p:cNvPr>
          <p:cNvGrpSpPr/>
          <p:nvPr userDrawn="1"/>
        </p:nvGrpSpPr>
        <p:grpSpPr>
          <a:xfrm>
            <a:off x="5172251" y="2354391"/>
            <a:ext cx="377904" cy="521508"/>
            <a:chOff x="5302993" y="2446026"/>
            <a:chExt cx="377904" cy="521508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C056E5A-50B8-4FF1-9AD8-E4003692D263}"/>
                </a:ext>
              </a:extLst>
            </p:cNvPr>
            <p:cNvSpPr/>
            <p:nvPr userDrawn="1"/>
          </p:nvSpPr>
          <p:spPr>
            <a:xfrm>
              <a:off x="5302993" y="244602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D99936D8-E816-4D48-9BE0-BF3EFC24B9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5379372" y="2567719"/>
              <a:ext cx="225147" cy="278123"/>
            </a:xfrm>
            <a:prstGeom prst="rect">
              <a:avLst/>
            </a:prstGeom>
          </p:spPr>
        </p:pic>
      </p:grpSp>
      <p:sp>
        <p:nvSpPr>
          <p:cNvPr id="30" name="Freeform 29">
            <a:extLst>
              <a:ext uri="{FF2B5EF4-FFF2-40B4-BE49-F238E27FC236}">
                <a16:creationId xmlns:a16="http://schemas.microsoft.com/office/drawing/2014/main" id="{1A0F3B76-3382-9248-82C0-E233897683C1}"/>
              </a:ext>
            </a:extLst>
          </p:cNvPr>
          <p:cNvSpPr/>
          <p:nvPr/>
        </p:nvSpPr>
        <p:spPr>
          <a:xfrm>
            <a:off x="0" y="5458906"/>
            <a:ext cx="3131911" cy="1406635"/>
          </a:xfrm>
          <a:custGeom>
            <a:avLst/>
            <a:gdLst>
              <a:gd name="connsiteX0" fmla="*/ 1069980 w 3131911"/>
              <a:gd name="connsiteY0" fmla="*/ 0 h 1406635"/>
              <a:gd name="connsiteX1" fmla="*/ 3131911 w 3131911"/>
              <a:gd name="connsiteY1" fmla="*/ 1406635 h 1406635"/>
              <a:gd name="connsiteX2" fmla="*/ 0 w 3131911"/>
              <a:gd name="connsiteY2" fmla="*/ 1406635 h 1406635"/>
              <a:gd name="connsiteX3" fmla="*/ 0 w 3131911"/>
              <a:gd name="connsiteY3" fmla="*/ 751147 h 1406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1911" h="1406635">
                <a:moveTo>
                  <a:pt x="1069980" y="0"/>
                </a:moveTo>
                <a:lnTo>
                  <a:pt x="3131911" y="1406635"/>
                </a:lnTo>
                <a:lnTo>
                  <a:pt x="0" y="1406635"/>
                </a:lnTo>
                <a:lnTo>
                  <a:pt x="0" y="75114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rgbClr val="073262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Freeform 30">
            <a:extLst>
              <a:ext uri="{FF2B5EF4-FFF2-40B4-BE49-F238E27FC236}">
                <a16:creationId xmlns:a16="http://schemas.microsoft.com/office/drawing/2014/main" id="{9B2D83E3-7F99-7D4F-8872-D013EB064C64}"/>
              </a:ext>
            </a:extLst>
          </p:cNvPr>
          <p:cNvSpPr/>
          <p:nvPr/>
        </p:nvSpPr>
        <p:spPr>
          <a:xfrm flipH="1">
            <a:off x="1463681" y="5720587"/>
            <a:ext cx="2037801" cy="1137413"/>
          </a:xfrm>
          <a:custGeom>
            <a:avLst/>
            <a:gdLst>
              <a:gd name="connsiteX0" fmla="*/ 1647526 w 2037801"/>
              <a:gd name="connsiteY0" fmla="*/ 0 h 1137413"/>
              <a:gd name="connsiteX1" fmla="*/ 0 w 2037801"/>
              <a:gd name="connsiteY1" fmla="*/ 1137412 h 1137413"/>
              <a:gd name="connsiteX2" fmla="*/ 4 w 2037801"/>
              <a:gd name="connsiteY2" fmla="*/ 1137413 h 1137413"/>
              <a:gd name="connsiteX3" fmla="*/ 763670 w 2037801"/>
              <a:gd name="connsiteY3" fmla="*/ 1137413 h 1137413"/>
              <a:gd name="connsiteX4" fmla="*/ 2037801 w 2037801"/>
              <a:gd name="connsiteY4" fmla="*/ 260147 h 113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7801" h="1137413">
                <a:moveTo>
                  <a:pt x="1647526" y="0"/>
                </a:moveTo>
                <a:lnTo>
                  <a:pt x="0" y="1137412"/>
                </a:lnTo>
                <a:lnTo>
                  <a:pt x="4" y="1137413"/>
                </a:lnTo>
                <a:lnTo>
                  <a:pt x="763670" y="1137413"/>
                </a:lnTo>
                <a:lnTo>
                  <a:pt x="2037801" y="26014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E794FE20-82FD-46D6-9711-962A1049D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AFECE-15A3-416B-B50A-EBF3EED088E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AAC0CD-3BB0-4D9E-A908-07FDE5E8E65A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84B35D4-5BE2-8412-0749-0CDE817BBC93}"/>
              </a:ext>
            </a:extLst>
          </p:cNvPr>
          <p:cNvSpPr/>
          <p:nvPr userDrawn="1"/>
        </p:nvSpPr>
        <p:spPr>
          <a:xfrm>
            <a:off x="3020406" y="0"/>
            <a:ext cx="552568" cy="685799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3F4B4247-A876-A339-5620-28ED0600C9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813"/>
          <a:stretch/>
        </p:blipFill>
        <p:spPr>
          <a:xfrm>
            <a:off x="109728" y="0"/>
            <a:ext cx="3447357" cy="6857999"/>
          </a:xfrm>
          <a:prstGeom prst="rect">
            <a:avLst/>
          </a:prstGeom>
          <a:ln>
            <a:noFill/>
          </a:ln>
        </p:spPr>
      </p:pic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7123949-2948-0B2D-936D-395F783F8DA2}"/>
              </a:ext>
            </a:extLst>
          </p:cNvPr>
          <p:cNvCxnSpPr>
            <a:cxnSpLocks/>
          </p:cNvCxnSpPr>
          <p:nvPr userDrawn="1"/>
        </p:nvCxnSpPr>
        <p:spPr>
          <a:xfrm>
            <a:off x="457198" y="4338975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tle 1">
            <a:extLst>
              <a:ext uri="{FF2B5EF4-FFF2-40B4-BE49-F238E27FC236}">
                <a16:creationId xmlns:a16="http://schemas.microsoft.com/office/drawing/2014/main" id="{612E9A6F-197E-FE36-DE56-0F13C2A4D4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45" name="Text Placeholder 22">
            <a:extLst>
              <a:ext uri="{FF2B5EF4-FFF2-40B4-BE49-F238E27FC236}">
                <a16:creationId xmlns:a16="http://schemas.microsoft.com/office/drawing/2014/main" id="{A48902FD-593D-3D2A-B4BF-09C2FBE7BF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478340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C85E3182-C36C-40BB-075E-8004F854CC8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86867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22_Case Study w/ Icon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A701FB85-C272-4F67-9376-36F249DCAFBF}"/>
              </a:ext>
            </a:extLst>
          </p:cNvPr>
          <p:cNvSpPr/>
          <p:nvPr/>
        </p:nvSpPr>
        <p:spPr>
          <a:xfrm>
            <a:off x="3020406" y="0"/>
            <a:ext cx="917159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1ED8F4F-C0B6-428A-8156-2EAE02418D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44302" y="2408983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sz="1400" b="1">
                <a:solidFill>
                  <a:schemeClr val="accent3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2219E8E-B81B-42A6-9777-5061C48EB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72011" y="4427669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sz="1400"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D3371-D5A0-444B-8039-E662C6EAB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44302" y="390296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572974" y="0"/>
            <a:ext cx="1205113" cy="6857997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00D3F3F-CEDE-AA4A-B072-12C37EE83EF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A23EC76-A22A-47BD-BB6E-CAADBA2F82A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4671103-7E79-47FF-8825-80F398220656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E794FE20-82FD-46D6-9711-962A1049D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AFECE-15A3-416B-B50A-EBF3EED088E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AAC0CD-3BB0-4D9E-A908-07FDE5E8E65A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84B35D4-5BE2-8412-0749-0CDE817BBC93}"/>
              </a:ext>
            </a:extLst>
          </p:cNvPr>
          <p:cNvSpPr/>
          <p:nvPr userDrawn="1"/>
        </p:nvSpPr>
        <p:spPr>
          <a:xfrm>
            <a:off x="3020406" y="0"/>
            <a:ext cx="552568" cy="685799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3F4B4247-A876-A339-5620-28ED0600C9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813"/>
          <a:stretch/>
        </p:blipFill>
        <p:spPr>
          <a:xfrm>
            <a:off x="109728" y="0"/>
            <a:ext cx="3447357" cy="6857999"/>
          </a:xfrm>
          <a:prstGeom prst="rect">
            <a:avLst/>
          </a:prstGeom>
          <a:ln>
            <a:noFill/>
          </a:ln>
        </p:spPr>
      </p:pic>
      <p:sp>
        <p:nvSpPr>
          <p:cNvPr id="44" name="Title 1">
            <a:extLst>
              <a:ext uri="{FF2B5EF4-FFF2-40B4-BE49-F238E27FC236}">
                <a16:creationId xmlns:a16="http://schemas.microsoft.com/office/drawing/2014/main" id="{612E9A6F-197E-FE36-DE56-0F13C2A4D4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C85E3182-C36C-40BB-075E-8004F854CC8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24032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A701FB85-C272-4F67-9376-36F249DCAFBF}"/>
              </a:ext>
            </a:extLst>
          </p:cNvPr>
          <p:cNvSpPr/>
          <p:nvPr/>
        </p:nvSpPr>
        <p:spPr>
          <a:xfrm>
            <a:off x="3020406" y="0"/>
            <a:ext cx="917159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1ED8F4F-C0B6-428A-8156-2EAE02418D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1160" y="2408983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accent3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2219E8E-B81B-42A6-9777-5061C48EB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38869" y="4427669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D3371-D5A0-444B-8039-E662C6EAB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11160" y="390296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1A0F3B76-3382-9248-82C0-E233897683C1}"/>
              </a:ext>
            </a:extLst>
          </p:cNvPr>
          <p:cNvSpPr/>
          <p:nvPr/>
        </p:nvSpPr>
        <p:spPr>
          <a:xfrm>
            <a:off x="0" y="5458906"/>
            <a:ext cx="3131911" cy="1406635"/>
          </a:xfrm>
          <a:custGeom>
            <a:avLst/>
            <a:gdLst>
              <a:gd name="connsiteX0" fmla="*/ 1069980 w 3131911"/>
              <a:gd name="connsiteY0" fmla="*/ 0 h 1406635"/>
              <a:gd name="connsiteX1" fmla="*/ 3131911 w 3131911"/>
              <a:gd name="connsiteY1" fmla="*/ 1406635 h 1406635"/>
              <a:gd name="connsiteX2" fmla="*/ 0 w 3131911"/>
              <a:gd name="connsiteY2" fmla="*/ 1406635 h 1406635"/>
              <a:gd name="connsiteX3" fmla="*/ 0 w 3131911"/>
              <a:gd name="connsiteY3" fmla="*/ 751147 h 1406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1911" h="1406635">
                <a:moveTo>
                  <a:pt x="1069980" y="0"/>
                </a:moveTo>
                <a:lnTo>
                  <a:pt x="3131911" y="1406635"/>
                </a:lnTo>
                <a:lnTo>
                  <a:pt x="0" y="1406635"/>
                </a:lnTo>
                <a:lnTo>
                  <a:pt x="0" y="75114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rgbClr val="073262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7FBD1F2-8F8E-4ED2-B94D-477D0A3B1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813"/>
          <a:stretch/>
        </p:blipFill>
        <p:spPr>
          <a:xfrm>
            <a:off x="109808" y="0"/>
            <a:ext cx="4661317" cy="685800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30">
            <a:extLst>
              <a:ext uri="{FF2B5EF4-FFF2-40B4-BE49-F238E27FC236}">
                <a16:creationId xmlns:a16="http://schemas.microsoft.com/office/drawing/2014/main" id="{9B2D83E3-7F99-7D4F-8872-D013EB064C64}"/>
              </a:ext>
            </a:extLst>
          </p:cNvPr>
          <p:cNvSpPr/>
          <p:nvPr/>
        </p:nvSpPr>
        <p:spPr>
          <a:xfrm flipH="1">
            <a:off x="1463681" y="5720587"/>
            <a:ext cx="2037801" cy="1137413"/>
          </a:xfrm>
          <a:custGeom>
            <a:avLst/>
            <a:gdLst>
              <a:gd name="connsiteX0" fmla="*/ 1647526 w 2037801"/>
              <a:gd name="connsiteY0" fmla="*/ 0 h 1137413"/>
              <a:gd name="connsiteX1" fmla="*/ 0 w 2037801"/>
              <a:gd name="connsiteY1" fmla="*/ 1137412 h 1137413"/>
              <a:gd name="connsiteX2" fmla="*/ 4 w 2037801"/>
              <a:gd name="connsiteY2" fmla="*/ 1137413 h 1137413"/>
              <a:gd name="connsiteX3" fmla="*/ 763670 w 2037801"/>
              <a:gd name="connsiteY3" fmla="*/ 1137413 h 1137413"/>
              <a:gd name="connsiteX4" fmla="*/ 2037801 w 2037801"/>
              <a:gd name="connsiteY4" fmla="*/ 260147 h 113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7801" h="1137413">
                <a:moveTo>
                  <a:pt x="1647526" y="0"/>
                </a:moveTo>
                <a:lnTo>
                  <a:pt x="0" y="1137412"/>
                </a:lnTo>
                <a:lnTo>
                  <a:pt x="4" y="1137413"/>
                </a:lnTo>
                <a:lnTo>
                  <a:pt x="763670" y="1137413"/>
                </a:lnTo>
                <a:lnTo>
                  <a:pt x="2037801" y="26014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00D3F3F-CEDE-AA4A-B072-12C37EE83EF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AAC0CD-3BB0-4D9E-A908-07FDE5E8E65A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A23EC76-A22A-47BD-BB6E-CAADBA2F82A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4671103-7E79-47FF-8825-80F398220656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E794FE20-82FD-46D6-9711-962A1049DD8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AFECE-15A3-416B-B50A-EBF3EED088E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 smtClean="0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3447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05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9C8454E-BB72-479B-8325-AC89FEA19C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02" y="136604"/>
            <a:ext cx="12192000" cy="6857999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E1BFC2F-99FE-45E8-9D6F-546CAB2241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3385E9-575A-4E97-BE38-0A19A73B40A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EECBC3-0434-4E5B-80EB-F18E5858D660}"/>
              </a:ext>
            </a:extLst>
          </p:cNvPr>
          <p:cNvCxnSpPr>
            <a:cxnSpLocks/>
          </p:cNvCxnSpPr>
          <p:nvPr userDrawn="1"/>
        </p:nvCxnSpPr>
        <p:spPr>
          <a:xfrm>
            <a:off x="442799" y="3214819"/>
            <a:ext cx="4932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34">
            <a:extLst>
              <a:ext uri="{FF2B5EF4-FFF2-40B4-BE49-F238E27FC236}">
                <a16:creationId xmlns:a16="http://schemas.microsoft.com/office/drawing/2014/main" id="{5A1ED52C-F219-40BD-AD78-26E909BD31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442799" y="3565604"/>
            <a:ext cx="2810216" cy="1168340"/>
          </a:xfrm>
          <a:prstGeom prst="rect">
            <a:avLst/>
          </a:prstGeom>
        </p:spPr>
      </p:pic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BECDE2C7-ADDA-481D-93A9-E61494A648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9C7DB8-50DE-4F4D-8D3A-E1B644BEBD0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13" name="Freeform: Shape 38">
            <a:extLst>
              <a:ext uri="{FF2B5EF4-FFF2-40B4-BE49-F238E27FC236}">
                <a16:creationId xmlns:a16="http://schemas.microsoft.com/office/drawing/2014/main" id="{5BEACAC3-A4D3-4A5A-BCBD-6A6FB904BDBC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C2A9049B-2A71-4DF7-A59B-F291023D31D2}"/>
              </a:ext>
            </a:extLst>
          </p:cNvPr>
          <p:cNvSpPr/>
          <p:nvPr userDrawn="1"/>
        </p:nvSpPr>
        <p:spPr>
          <a:xfrm>
            <a:off x="10121759" y="2893156"/>
            <a:ext cx="2070240" cy="2020997"/>
          </a:xfrm>
          <a:custGeom>
            <a:avLst/>
            <a:gdLst>
              <a:gd name="connsiteX0" fmla="*/ 803684 w 2070240"/>
              <a:gd name="connsiteY0" fmla="*/ 0 h 2020997"/>
              <a:gd name="connsiteX1" fmla="*/ 2069497 w 2070240"/>
              <a:gd name="connsiteY1" fmla="*/ 889314 h 2020997"/>
              <a:gd name="connsiteX2" fmla="*/ 2069597 w 2070240"/>
              <a:gd name="connsiteY2" fmla="*/ 713297 h 2020997"/>
              <a:gd name="connsiteX3" fmla="*/ 2070240 w 2070240"/>
              <a:gd name="connsiteY3" fmla="*/ 713739 h 2020997"/>
              <a:gd name="connsiteX4" fmla="*/ 2069497 w 2070240"/>
              <a:gd name="connsiteY4" fmla="*/ 2020997 h 2020997"/>
              <a:gd name="connsiteX5" fmla="*/ 0 w 2070240"/>
              <a:gd name="connsiteY5" fmla="*/ 567044 h 202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0240" h="2020997">
                <a:moveTo>
                  <a:pt x="803684" y="0"/>
                </a:moveTo>
                <a:lnTo>
                  <a:pt x="2069497" y="889314"/>
                </a:lnTo>
                <a:lnTo>
                  <a:pt x="2069597" y="713297"/>
                </a:lnTo>
                <a:lnTo>
                  <a:pt x="2070240" y="713739"/>
                </a:lnTo>
                <a:lnTo>
                  <a:pt x="2069497" y="2020997"/>
                </a:lnTo>
                <a:lnTo>
                  <a:pt x="0" y="567044"/>
                </a:lnTo>
                <a:close/>
              </a:path>
            </a:pathLst>
          </a:custGeom>
          <a:gradFill>
            <a:gsLst>
              <a:gs pos="21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879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1013A4B-2C3A-4DE4-AACD-0C2F7C1BFAF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5775" y="-19896"/>
            <a:ext cx="12219085" cy="6891750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1875275 w 8131604"/>
              <a:gd name="connsiteY4" fmla="*/ 0 h 6877896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0 h 6877896"/>
              <a:gd name="connsiteX1" fmla="*/ 8537299 w 8537299"/>
              <a:gd name="connsiteY1" fmla="*/ 4343205 h 6877896"/>
              <a:gd name="connsiteX2" fmla="*/ 8534755 w 8537299"/>
              <a:gd name="connsiteY2" fmla="*/ 6877896 h 6877896"/>
              <a:gd name="connsiteX3" fmla="*/ 405695 w 8537299"/>
              <a:gd name="connsiteY3" fmla="*/ 6877896 h 6877896"/>
              <a:gd name="connsiteX4" fmla="*/ 1332935 w 8537299"/>
              <a:gd name="connsiteY4" fmla="*/ 3441969 h 6877896"/>
              <a:gd name="connsiteX5" fmla="*/ 2280970 w 8537299"/>
              <a:gd name="connsiteY5" fmla="*/ 0 h 6877896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927240 w 8131604"/>
              <a:gd name="connsiteY4" fmla="*/ 3441969 h 6877896"/>
              <a:gd name="connsiteX5" fmla="*/ 1875275 w 8131604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0 w 10044545"/>
              <a:gd name="connsiteY4" fmla="*/ 19896 h 6877896"/>
              <a:gd name="connsiteX5" fmla="*/ 3788216 w 10044545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526473 w 10044545"/>
              <a:gd name="connsiteY4" fmla="*/ 1945678 h 6877896"/>
              <a:gd name="connsiteX5" fmla="*/ 0 w 10044545"/>
              <a:gd name="connsiteY5" fmla="*/ 19896 h 6877896"/>
              <a:gd name="connsiteX6" fmla="*/ 3788216 w 10044545"/>
              <a:gd name="connsiteY6" fmla="*/ 0 h 6877896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2687782 w 12205854"/>
              <a:gd name="connsiteY4" fmla="*/ 1945678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13855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43896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96234 h 6987984"/>
              <a:gd name="connsiteX1" fmla="*/ 12205854 w 12217165"/>
              <a:gd name="connsiteY1" fmla="*/ 4439439 h 6987984"/>
              <a:gd name="connsiteX2" fmla="*/ 12217165 w 12217165"/>
              <a:gd name="connsiteY2" fmla="*/ 6987984 h 6987984"/>
              <a:gd name="connsiteX3" fmla="*/ 4074250 w 12217165"/>
              <a:gd name="connsiteY3" fmla="*/ 6974130 h 6987984"/>
              <a:gd name="connsiteX4" fmla="*/ 13855 w 12217165"/>
              <a:gd name="connsiteY4" fmla="*/ 6946421 h 6987984"/>
              <a:gd name="connsiteX5" fmla="*/ 0 w 12217165"/>
              <a:gd name="connsiteY5" fmla="*/ 1612421 h 6987984"/>
              <a:gd name="connsiteX6" fmla="*/ 2161309 w 12217165"/>
              <a:gd name="connsiteY6" fmla="*/ 116130 h 6987984"/>
              <a:gd name="connsiteX7" fmla="*/ 5949525 w 12217165"/>
              <a:gd name="connsiteY7" fmla="*/ 96234 h 6987984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49724 w 12217364"/>
              <a:gd name="connsiteY0" fmla="*/ 0 h 6891750"/>
              <a:gd name="connsiteX1" fmla="*/ 12206053 w 12217364"/>
              <a:gd name="connsiteY1" fmla="*/ 4343205 h 6891750"/>
              <a:gd name="connsiteX2" fmla="*/ 12217364 w 12217364"/>
              <a:gd name="connsiteY2" fmla="*/ 6891750 h 6891750"/>
              <a:gd name="connsiteX3" fmla="*/ 4074449 w 12217364"/>
              <a:gd name="connsiteY3" fmla="*/ 6877896 h 6891750"/>
              <a:gd name="connsiteX4" fmla="*/ 14054 w 12217364"/>
              <a:gd name="connsiteY4" fmla="*/ 6850187 h 6891750"/>
              <a:gd name="connsiteX5" fmla="*/ 199 w 12217364"/>
              <a:gd name="connsiteY5" fmla="*/ 1516187 h 6891750"/>
              <a:gd name="connsiteX6" fmla="*/ 22741 w 12217364"/>
              <a:gd name="connsiteY6" fmla="*/ 19896 h 6891750"/>
              <a:gd name="connsiteX7" fmla="*/ 5949724 w 12217364"/>
              <a:gd name="connsiteY7" fmla="*/ 0 h 6891750"/>
              <a:gd name="connsiteX0" fmla="*/ 5949936 w 12217576"/>
              <a:gd name="connsiteY0" fmla="*/ 0 h 6891750"/>
              <a:gd name="connsiteX1" fmla="*/ 12206265 w 12217576"/>
              <a:gd name="connsiteY1" fmla="*/ 4343205 h 6891750"/>
              <a:gd name="connsiteX2" fmla="*/ 12217576 w 12217576"/>
              <a:gd name="connsiteY2" fmla="*/ 6891750 h 6891750"/>
              <a:gd name="connsiteX3" fmla="*/ 4074661 w 12217576"/>
              <a:gd name="connsiteY3" fmla="*/ 6877896 h 6891750"/>
              <a:gd name="connsiteX4" fmla="*/ 14266 w 12217576"/>
              <a:gd name="connsiteY4" fmla="*/ 6850187 h 6891750"/>
              <a:gd name="connsiteX5" fmla="*/ 411 w 12217576"/>
              <a:gd name="connsiteY5" fmla="*/ 1516187 h 6891750"/>
              <a:gd name="connsiteX6" fmla="*/ 7455 w 12217576"/>
              <a:gd name="connsiteY6" fmla="*/ 19896 h 6891750"/>
              <a:gd name="connsiteX7" fmla="*/ 5949936 w 12217576"/>
              <a:gd name="connsiteY7" fmla="*/ 0 h 6891750"/>
              <a:gd name="connsiteX0" fmla="*/ 5951445 w 12219085"/>
              <a:gd name="connsiteY0" fmla="*/ 0 h 6891750"/>
              <a:gd name="connsiteX1" fmla="*/ 12207774 w 12219085"/>
              <a:gd name="connsiteY1" fmla="*/ 4343205 h 6891750"/>
              <a:gd name="connsiteX2" fmla="*/ 12219085 w 12219085"/>
              <a:gd name="connsiteY2" fmla="*/ 6891750 h 6891750"/>
              <a:gd name="connsiteX3" fmla="*/ 4076170 w 12219085"/>
              <a:gd name="connsiteY3" fmla="*/ 6877896 h 6891750"/>
              <a:gd name="connsiteX4" fmla="*/ 1261 w 12219085"/>
              <a:gd name="connsiteY4" fmla="*/ 6879216 h 6891750"/>
              <a:gd name="connsiteX5" fmla="*/ 1920 w 12219085"/>
              <a:gd name="connsiteY5" fmla="*/ 1516187 h 6891750"/>
              <a:gd name="connsiteX6" fmla="*/ 8964 w 12219085"/>
              <a:gd name="connsiteY6" fmla="*/ 19896 h 6891750"/>
              <a:gd name="connsiteX7" fmla="*/ 5951445 w 12219085"/>
              <a:gd name="connsiteY7" fmla="*/ 0 h 689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9085" h="6891750">
                <a:moveTo>
                  <a:pt x="5951445" y="0"/>
                </a:moveTo>
                <a:lnTo>
                  <a:pt x="12207774" y="4343205"/>
                </a:lnTo>
                <a:cubicBezTo>
                  <a:pt x="12211544" y="5192720"/>
                  <a:pt x="12215315" y="6042235"/>
                  <a:pt x="12219085" y="6891750"/>
                </a:cubicBezTo>
                <a:lnTo>
                  <a:pt x="4076170" y="6877896"/>
                </a:lnTo>
                <a:lnTo>
                  <a:pt x="1261" y="6879216"/>
                </a:lnTo>
                <a:cubicBezTo>
                  <a:pt x="-3357" y="5110452"/>
                  <a:pt x="6538" y="3284951"/>
                  <a:pt x="1920" y="1516187"/>
                </a:cubicBezTo>
                <a:cubicBezTo>
                  <a:pt x="-898" y="1001925"/>
                  <a:pt x="11782" y="518660"/>
                  <a:pt x="8964" y="19896"/>
                </a:cubicBezTo>
                <a:lnTo>
                  <a:pt x="5951445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DFDCD53E-B970-474F-A296-7F5D3D3670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2596681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F4D0EB71-A2B4-47F8-A43C-B44A52DA54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E96BF9C-3A9B-4F3E-9F61-1D941B653E9B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CD4190-9BC7-4476-AF83-E6D1A2BFB31D}"/>
              </a:ext>
            </a:extLst>
          </p:cNvPr>
          <p:cNvSpPr/>
          <p:nvPr userDrawn="1"/>
        </p:nvSpPr>
        <p:spPr>
          <a:xfrm rot="4191016">
            <a:off x="560557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84BD3FC-E6DB-474F-B265-92A120F91168}"/>
              </a:ext>
            </a:extLst>
          </p:cNvPr>
          <p:cNvSpPr/>
          <p:nvPr userDrawn="1"/>
        </p:nvSpPr>
        <p:spPr>
          <a:xfrm flipH="1">
            <a:off x="9184940" y="2369821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20074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ght Triangle 8">
            <a:extLst>
              <a:ext uri="{FF2B5EF4-FFF2-40B4-BE49-F238E27FC236}">
                <a16:creationId xmlns:a16="http://schemas.microsoft.com/office/drawing/2014/main" id="{5F0F5E84-3D08-463C-A2F4-3F622F79D6AE}"/>
              </a:ext>
            </a:extLst>
          </p:cNvPr>
          <p:cNvSpPr/>
          <p:nvPr userDrawn="1"/>
        </p:nvSpPr>
        <p:spPr>
          <a:xfrm rot="16200000">
            <a:off x="9386887" y="4069666"/>
            <a:ext cx="2805111" cy="280511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6635DDF-EA99-074A-B8AA-6DB89B54130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88272" y="1212712"/>
            <a:ext cx="8103729" cy="5645288"/>
          </a:xfrm>
          <a:custGeom>
            <a:avLst/>
            <a:gdLst>
              <a:gd name="connsiteX0" fmla="*/ 8103729 w 8103729"/>
              <a:gd name="connsiteY0" fmla="*/ 0 h 5645288"/>
              <a:gd name="connsiteX1" fmla="*/ 8103729 w 8103729"/>
              <a:gd name="connsiteY1" fmla="*/ 4023746 h 5645288"/>
              <a:gd name="connsiteX2" fmla="*/ 5764894 w 8103729"/>
              <a:gd name="connsiteY2" fmla="*/ 5645288 h 5645288"/>
              <a:gd name="connsiteX3" fmla="*/ 0 w 8103729"/>
              <a:gd name="connsiteY3" fmla="*/ 5645288 h 5645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03729" h="5645288">
                <a:moveTo>
                  <a:pt x="8103729" y="0"/>
                </a:moveTo>
                <a:lnTo>
                  <a:pt x="8103729" y="4023746"/>
                </a:lnTo>
                <a:lnTo>
                  <a:pt x="5764894" y="5645288"/>
                </a:lnTo>
                <a:lnTo>
                  <a:pt x="0" y="5645288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8871D4E-8962-41E4-B7BC-D6881361F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3AB3759-2ABA-419B-8B4A-9D837809ED6D}"/>
              </a:ext>
            </a:extLst>
          </p:cNvPr>
          <p:cNvCxnSpPr/>
          <p:nvPr userDrawn="1"/>
        </p:nvCxnSpPr>
        <p:spPr>
          <a:xfrm>
            <a:off x="442800" y="3214819"/>
            <a:ext cx="4932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34">
            <a:extLst>
              <a:ext uri="{FF2B5EF4-FFF2-40B4-BE49-F238E27FC236}">
                <a16:creationId xmlns:a16="http://schemas.microsoft.com/office/drawing/2014/main" id="{60D24665-7834-4CC0-8EA5-C724896E98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42800" y="3565604"/>
            <a:ext cx="2810216" cy="1168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2A88DD9-1E9D-4979-91FB-355894EC6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D8CA00-0351-4439-80FC-0A747C09242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15" name="Freeform: Shape 38">
            <a:extLst>
              <a:ext uri="{FF2B5EF4-FFF2-40B4-BE49-F238E27FC236}">
                <a16:creationId xmlns:a16="http://schemas.microsoft.com/office/drawing/2014/main" id="{D7F1981D-B15C-4509-BD6A-04D49D3FAFB5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20">
            <a:extLst>
              <a:ext uri="{FF2B5EF4-FFF2-40B4-BE49-F238E27FC236}">
                <a16:creationId xmlns:a16="http://schemas.microsoft.com/office/drawing/2014/main" id="{3F6CD97A-AEFF-4042-B3F6-70888095713D}"/>
              </a:ext>
            </a:extLst>
          </p:cNvPr>
          <p:cNvSpPr/>
          <p:nvPr userDrawn="1"/>
        </p:nvSpPr>
        <p:spPr>
          <a:xfrm flipH="1">
            <a:off x="8774596" y="4407877"/>
            <a:ext cx="3417404" cy="2450123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119338 w 4913588"/>
              <a:gd name="connsiteY3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2404721 w 4913588"/>
              <a:gd name="connsiteY3" fmla="*/ 2201134 h 2209800"/>
              <a:gd name="connsiteX4" fmla="*/ 119338 w 4913588"/>
              <a:gd name="connsiteY4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2404721 w 4913588"/>
              <a:gd name="connsiteY3" fmla="*/ 2201134 h 2209800"/>
              <a:gd name="connsiteX4" fmla="*/ 2404721 w 4913588"/>
              <a:gd name="connsiteY4" fmla="*/ 2201134 h 2209800"/>
              <a:gd name="connsiteX5" fmla="*/ 119338 w 4913588"/>
              <a:gd name="connsiteY5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4913588 w 4913588"/>
              <a:gd name="connsiteY3" fmla="*/ 2209800 h 2209800"/>
              <a:gd name="connsiteX4" fmla="*/ 2404721 w 4913588"/>
              <a:gd name="connsiteY4" fmla="*/ 2201134 h 2209800"/>
              <a:gd name="connsiteX5" fmla="*/ 2404721 w 4913588"/>
              <a:gd name="connsiteY5" fmla="*/ 2201134 h 2209800"/>
              <a:gd name="connsiteX6" fmla="*/ 119338 w 4913588"/>
              <a:gd name="connsiteY6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4913588 w 4913588"/>
              <a:gd name="connsiteY3" fmla="*/ 2209800 h 2209800"/>
              <a:gd name="connsiteX4" fmla="*/ 2404721 w 4913588"/>
              <a:gd name="connsiteY4" fmla="*/ 2201134 h 2209800"/>
              <a:gd name="connsiteX5" fmla="*/ 2404721 w 4913588"/>
              <a:gd name="connsiteY5" fmla="*/ 2201134 h 2209800"/>
              <a:gd name="connsiteX6" fmla="*/ 119338 w 4913588"/>
              <a:gd name="connsiteY6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2404721 w 4913588"/>
              <a:gd name="connsiteY3" fmla="*/ 398631 h 2209800"/>
              <a:gd name="connsiteX4" fmla="*/ 4913588 w 4913588"/>
              <a:gd name="connsiteY4" fmla="*/ 2209800 h 2209800"/>
              <a:gd name="connsiteX5" fmla="*/ 2404721 w 4913588"/>
              <a:gd name="connsiteY5" fmla="*/ 2201134 h 2209800"/>
              <a:gd name="connsiteX6" fmla="*/ 2404721 w 4913588"/>
              <a:gd name="connsiteY6" fmla="*/ 2201134 h 2209800"/>
              <a:gd name="connsiteX7" fmla="*/ 119338 w 4913588"/>
              <a:gd name="connsiteY7" fmla="*/ 2209800 h 2209800"/>
              <a:gd name="connsiteX0" fmla="*/ 4 w 4794254"/>
              <a:gd name="connsiteY0" fmla="*/ 1811169 h 1811169"/>
              <a:gd name="connsiteX1" fmla="*/ 2268056 w 4794254"/>
              <a:gd name="connsiteY1" fmla="*/ 0 h 1811169"/>
              <a:gd name="connsiteX2" fmla="*/ 2285387 w 4794254"/>
              <a:gd name="connsiteY2" fmla="*/ 0 h 1811169"/>
              <a:gd name="connsiteX3" fmla="*/ 4794254 w 4794254"/>
              <a:gd name="connsiteY3" fmla="*/ 1811169 h 1811169"/>
              <a:gd name="connsiteX4" fmla="*/ 2285387 w 4794254"/>
              <a:gd name="connsiteY4" fmla="*/ 1802503 h 1811169"/>
              <a:gd name="connsiteX5" fmla="*/ 2285387 w 4794254"/>
              <a:gd name="connsiteY5" fmla="*/ 1802503 h 1811169"/>
              <a:gd name="connsiteX6" fmla="*/ 4 w 4794254"/>
              <a:gd name="connsiteY6" fmla="*/ 1811169 h 1811169"/>
              <a:gd name="connsiteX0" fmla="*/ 17331 w 2526198"/>
              <a:gd name="connsiteY0" fmla="*/ 1802503 h 1811169"/>
              <a:gd name="connsiteX1" fmla="*/ 0 w 2526198"/>
              <a:gd name="connsiteY1" fmla="*/ 0 h 1811169"/>
              <a:gd name="connsiteX2" fmla="*/ 17331 w 2526198"/>
              <a:gd name="connsiteY2" fmla="*/ 0 h 1811169"/>
              <a:gd name="connsiteX3" fmla="*/ 2526198 w 2526198"/>
              <a:gd name="connsiteY3" fmla="*/ 1811169 h 1811169"/>
              <a:gd name="connsiteX4" fmla="*/ 17331 w 2526198"/>
              <a:gd name="connsiteY4" fmla="*/ 1802503 h 1811169"/>
              <a:gd name="connsiteX5" fmla="*/ 17331 w 2526198"/>
              <a:gd name="connsiteY5" fmla="*/ 1802503 h 181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6198" h="1811169">
                <a:moveTo>
                  <a:pt x="17331" y="1802503"/>
                </a:moveTo>
                <a:lnTo>
                  <a:pt x="0" y="0"/>
                </a:lnTo>
                <a:lnTo>
                  <a:pt x="17331" y="0"/>
                </a:lnTo>
                <a:lnTo>
                  <a:pt x="2526198" y="1811169"/>
                </a:lnTo>
                <a:lnTo>
                  <a:pt x="17331" y="1802503"/>
                </a:lnTo>
                <a:lnTo>
                  <a:pt x="17331" y="1802503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8952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197EE4D-06D9-6D48-B606-48101EB68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14990" y="0"/>
            <a:ext cx="5724910" cy="6858000"/>
          </a:xfrm>
          <a:custGeom>
            <a:avLst/>
            <a:gdLst>
              <a:gd name="connsiteX0" fmla="*/ 3899193 w 5724910"/>
              <a:gd name="connsiteY0" fmla="*/ 0 h 6858000"/>
              <a:gd name="connsiteX1" fmla="*/ 5724910 w 5724910"/>
              <a:gd name="connsiteY1" fmla="*/ 0 h 6858000"/>
              <a:gd name="connsiteX2" fmla="*/ 5724910 w 5724910"/>
              <a:gd name="connsiteY2" fmla="*/ 4117441 h 6858000"/>
              <a:gd name="connsiteX3" fmla="*/ 1757271 w 5724910"/>
              <a:gd name="connsiteY3" fmla="*/ 6858000 h 6858000"/>
              <a:gd name="connsiteX4" fmla="*/ 0 w 5724910"/>
              <a:gd name="connsiteY4" fmla="*/ 6854510 h 6858000"/>
              <a:gd name="connsiteX5" fmla="*/ 10128 w 5724910"/>
              <a:gd name="connsiteY5" fmla="*/ 270433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24910" h="6858000">
                <a:moveTo>
                  <a:pt x="3899193" y="0"/>
                </a:moveTo>
                <a:lnTo>
                  <a:pt x="5724910" y="0"/>
                </a:lnTo>
                <a:lnTo>
                  <a:pt x="5724910" y="4117441"/>
                </a:lnTo>
                <a:lnTo>
                  <a:pt x="1757271" y="6858000"/>
                </a:lnTo>
                <a:lnTo>
                  <a:pt x="0" y="6854510"/>
                </a:lnTo>
                <a:lnTo>
                  <a:pt x="10128" y="270433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90C636B-5A5D-4399-980F-44E3735BC7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2415" y="2040219"/>
            <a:ext cx="4004632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6000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hank you</a:t>
            </a:r>
            <a:endParaRPr lang="en-GB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218638D0-EA79-4658-BBAF-F7CBC3D7A6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42416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8" name="Freeform: Shape 38">
            <a:extLst>
              <a:ext uri="{FF2B5EF4-FFF2-40B4-BE49-F238E27FC236}">
                <a16:creationId xmlns:a16="http://schemas.microsoft.com/office/drawing/2014/main" id="{88DD9336-317D-4740-9853-D4062BAB0838}"/>
              </a:ext>
            </a:extLst>
          </p:cNvPr>
          <p:cNvSpPr/>
          <p:nvPr userDrawn="1"/>
        </p:nvSpPr>
        <p:spPr>
          <a:xfrm>
            <a:off x="1173742" y="4827938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Freeform: Shape 38">
            <a:extLst>
              <a:ext uri="{FF2B5EF4-FFF2-40B4-BE49-F238E27FC236}">
                <a16:creationId xmlns:a16="http://schemas.microsoft.com/office/drawing/2014/main" id="{98B81505-8EBE-43E4-B7C6-0E608556BE6D}"/>
              </a:ext>
            </a:extLst>
          </p:cNvPr>
          <p:cNvSpPr/>
          <p:nvPr userDrawn="1"/>
        </p:nvSpPr>
        <p:spPr>
          <a:xfrm rot="10800000">
            <a:off x="137450" y="1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0"/>
                </a:schemeClr>
              </a:gs>
              <a:gs pos="74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F2F5D52-6D04-4B54-B1A2-680FF23FCC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6745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950E1F8B-3FCA-4834-843E-9369F84050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199" y="3281163"/>
            <a:ext cx="6397626" cy="1218593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98" y="1233488"/>
            <a:ext cx="6443999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3385E9-575A-4E97-BE38-0A19A73B40A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18DAEFC-EF40-4589-9F6B-5C1699274A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00000"/>
            <a:ext cx="6443998" cy="99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12" name="Freeform: Shape 38">
            <a:extLst>
              <a:ext uri="{FF2B5EF4-FFF2-40B4-BE49-F238E27FC236}">
                <a16:creationId xmlns:a16="http://schemas.microsoft.com/office/drawing/2014/main" id="{BF4677C3-BCF5-4855-9611-E85C96D9A70A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2D55CCF4-0B1D-4A3B-AD75-0E7051248497}"/>
              </a:ext>
            </a:extLst>
          </p:cNvPr>
          <p:cNvSpPr/>
          <p:nvPr userDrawn="1"/>
        </p:nvSpPr>
        <p:spPr>
          <a:xfrm>
            <a:off x="10121759" y="2893156"/>
            <a:ext cx="2070240" cy="2020997"/>
          </a:xfrm>
          <a:custGeom>
            <a:avLst/>
            <a:gdLst>
              <a:gd name="connsiteX0" fmla="*/ 803684 w 2070240"/>
              <a:gd name="connsiteY0" fmla="*/ 0 h 2020997"/>
              <a:gd name="connsiteX1" fmla="*/ 2069497 w 2070240"/>
              <a:gd name="connsiteY1" fmla="*/ 889314 h 2020997"/>
              <a:gd name="connsiteX2" fmla="*/ 2069597 w 2070240"/>
              <a:gd name="connsiteY2" fmla="*/ 713297 h 2020997"/>
              <a:gd name="connsiteX3" fmla="*/ 2070240 w 2070240"/>
              <a:gd name="connsiteY3" fmla="*/ 713739 h 2020997"/>
              <a:gd name="connsiteX4" fmla="*/ 2069497 w 2070240"/>
              <a:gd name="connsiteY4" fmla="*/ 2020997 h 2020997"/>
              <a:gd name="connsiteX5" fmla="*/ 0 w 2070240"/>
              <a:gd name="connsiteY5" fmla="*/ 567044 h 202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0240" h="2020997">
                <a:moveTo>
                  <a:pt x="803684" y="0"/>
                </a:moveTo>
                <a:lnTo>
                  <a:pt x="2069497" y="889314"/>
                </a:lnTo>
                <a:lnTo>
                  <a:pt x="2069597" y="713297"/>
                </a:lnTo>
                <a:lnTo>
                  <a:pt x="2070240" y="713739"/>
                </a:lnTo>
                <a:lnTo>
                  <a:pt x="2069497" y="2020997"/>
                </a:lnTo>
                <a:lnTo>
                  <a:pt x="0" y="567044"/>
                </a:lnTo>
                <a:close/>
              </a:path>
            </a:pathLst>
          </a:custGeom>
          <a:gradFill>
            <a:gsLst>
              <a:gs pos="21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757B9-1AC3-4FAB-AFCD-5BE4A4272A5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/>
          <a:lstStyle/>
          <a:p>
            <a:endParaRPr lang="en-US" sz="800">
              <a:solidFill>
                <a:schemeClr val="bg2"/>
              </a:solidFill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18896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059D8B05-D21B-4C78-89BD-EB314603F8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E244E71-2C6D-4FAE-9016-5F18B979812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3855" y="-11575"/>
            <a:ext cx="12217165" cy="6869575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1875275 w 8131604"/>
              <a:gd name="connsiteY4" fmla="*/ 0 h 6877896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0 h 6877896"/>
              <a:gd name="connsiteX1" fmla="*/ 8537299 w 8537299"/>
              <a:gd name="connsiteY1" fmla="*/ 4343205 h 6877896"/>
              <a:gd name="connsiteX2" fmla="*/ 8534755 w 8537299"/>
              <a:gd name="connsiteY2" fmla="*/ 6877896 h 6877896"/>
              <a:gd name="connsiteX3" fmla="*/ 405695 w 8537299"/>
              <a:gd name="connsiteY3" fmla="*/ 6877896 h 6877896"/>
              <a:gd name="connsiteX4" fmla="*/ 1332935 w 8537299"/>
              <a:gd name="connsiteY4" fmla="*/ 3441969 h 6877896"/>
              <a:gd name="connsiteX5" fmla="*/ 2280970 w 8537299"/>
              <a:gd name="connsiteY5" fmla="*/ 0 h 6877896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927240 w 8131604"/>
              <a:gd name="connsiteY4" fmla="*/ 3441969 h 6877896"/>
              <a:gd name="connsiteX5" fmla="*/ 1875275 w 8131604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0 w 10044545"/>
              <a:gd name="connsiteY4" fmla="*/ 19896 h 6877896"/>
              <a:gd name="connsiteX5" fmla="*/ 3788216 w 10044545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526473 w 10044545"/>
              <a:gd name="connsiteY4" fmla="*/ 1945678 h 6877896"/>
              <a:gd name="connsiteX5" fmla="*/ 0 w 10044545"/>
              <a:gd name="connsiteY5" fmla="*/ 19896 h 6877896"/>
              <a:gd name="connsiteX6" fmla="*/ 3788216 w 10044545"/>
              <a:gd name="connsiteY6" fmla="*/ 0 h 6877896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2687782 w 12205854"/>
              <a:gd name="connsiteY4" fmla="*/ 1945678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13855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43896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96234 h 6987984"/>
              <a:gd name="connsiteX1" fmla="*/ 12205854 w 12217165"/>
              <a:gd name="connsiteY1" fmla="*/ 4439439 h 6987984"/>
              <a:gd name="connsiteX2" fmla="*/ 12217165 w 12217165"/>
              <a:gd name="connsiteY2" fmla="*/ 6987984 h 6987984"/>
              <a:gd name="connsiteX3" fmla="*/ 4074250 w 12217165"/>
              <a:gd name="connsiteY3" fmla="*/ 6974130 h 6987984"/>
              <a:gd name="connsiteX4" fmla="*/ 13855 w 12217165"/>
              <a:gd name="connsiteY4" fmla="*/ 6946421 h 6987984"/>
              <a:gd name="connsiteX5" fmla="*/ 0 w 12217165"/>
              <a:gd name="connsiteY5" fmla="*/ 1612421 h 6987984"/>
              <a:gd name="connsiteX6" fmla="*/ 2161309 w 12217165"/>
              <a:gd name="connsiteY6" fmla="*/ 116130 h 6987984"/>
              <a:gd name="connsiteX7" fmla="*/ 5949525 w 12217165"/>
              <a:gd name="connsiteY7" fmla="*/ 96234 h 6987984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7789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7789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6265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61744 w 12229384"/>
              <a:gd name="connsiteY0" fmla="*/ 0 h 6891750"/>
              <a:gd name="connsiteX1" fmla="*/ 12218073 w 12229384"/>
              <a:gd name="connsiteY1" fmla="*/ 4343205 h 6891750"/>
              <a:gd name="connsiteX2" fmla="*/ 12229384 w 12229384"/>
              <a:gd name="connsiteY2" fmla="*/ 6891750 h 6891750"/>
              <a:gd name="connsiteX3" fmla="*/ 4086469 w 12229384"/>
              <a:gd name="connsiteY3" fmla="*/ 6862656 h 6891750"/>
              <a:gd name="connsiteX4" fmla="*/ 674 w 12229384"/>
              <a:gd name="connsiteY4" fmla="*/ 6860347 h 6891750"/>
              <a:gd name="connsiteX5" fmla="*/ 12219 w 12229384"/>
              <a:gd name="connsiteY5" fmla="*/ 1516187 h 6891750"/>
              <a:gd name="connsiteX6" fmla="*/ 2173528 w 12229384"/>
              <a:gd name="connsiteY6" fmla="*/ 19896 h 6891750"/>
              <a:gd name="connsiteX7" fmla="*/ 5961744 w 12229384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62656 h 6891750"/>
              <a:gd name="connsiteX4" fmla="*/ 8775 w 12217165"/>
              <a:gd name="connsiteY4" fmla="*/ 689082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8775 w 12217165"/>
              <a:gd name="connsiteY3" fmla="*/ 6890827 h 6891750"/>
              <a:gd name="connsiteX4" fmla="*/ 0 w 12217165"/>
              <a:gd name="connsiteY4" fmla="*/ 1516187 h 6891750"/>
              <a:gd name="connsiteX5" fmla="*/ 2161309 w 12217165"/>
              <a:gd name="connsiteY5" fmla="*/ 19896 h 6891750"/>
              <a:gd name="connsiteX6" fmla="*/ 5949525 w 12217165"/>
              <a:gd name="connsiteY6" fmla="*/ 0 h 689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17165" h="6891750">
                <a:moveTo>
                  <a:pt x="5949525" y="0"/>
                </a:moveTo>
                <a:lnTo>
                  <a:pt x="12205854" y="4343205"/>
                </a:lnTo>
                <a:cubicBezTo>
                  <a:pt x="12209624" y="5192720"/>
                  <a:pt x="12213395" y="6042235"/>
                  <a:pt x="12217165" y="6891750"/>
                </a:cubicBezTo>
                <a:lnTo>
                  <a:pt x="8775" y="6890827"/>
                </a:lnTo>
                <a:cubicBezTo>
                  <a:pt x="4157" y="5122063"/>
                  <a:pt x="4618" y="3284951"/>
                  <a:pt x="0" y="1516187"/>
                </a:cubicBezTo>
                <a:lnTo>
                  <a:pt x="2161309" y="19896"/>
                </a:lnTo>
                <a:lnTo>
                  <a:pt x="5949525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4434872"/>
            <a:ext cx="6397626" cy="121859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800" y="2335488"/>
            <a:ext cx="6443999" cy="381000"/>
          </a:xfrm>
          <a:prstGeom prst="rect">
            <a:avLst/>
          </a:prstGeom>
        </p:spPr>
        <p:txBody>
          <a:bodyPr lIns="0" tIns="0" rIns="360000" b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5C7979F-B5FA-491A-9674-811E416D3A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999782"/>
            <a:ext cx="6454310" cy="990000"/>
          </a:xfrm>
        </p:spPr>
        <p:txBody>
          <a:bodyPr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the deck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D4976B8-BC22-4FB2-BECC-2F92BC01DC7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800" y="6480000"/>
            <a:ext cx="2396518" cy="123111"/>
          </a:xfrm>
          <a:prstGeom prst="rect">
            <a:avLst/>
          </a:prstGeom>
        </p:spPr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AA631FB-D42E-4C3F-8885-696AF4E9B4B2}"/>
              </a:ext>
            </a:extLst>
          </p:cNvPr>
          <p:cNvSpPr/>
          <p:nvPr userDrawn="1"/>
        </p:nvSpPr>
        <p:spPr>
          <a:xfrm rot="4191016">
            <a:off x="560557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2B9A1AF-97F2-4951-AD29-661ACC6A1482}"/>
              </a:ext>
            </a:extLst>
          </p:cNvPr>
          <p:cNvSpPr/>
          <p:nvPr userDrawn="1"/>
        </p:nvSpPr>
        <p:spPr>
          <a:xfrm flipH="1">
            <a:off x="9184940" y="2369821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BD8DDAA6-AFDC-48A0-BB6B-AC0E7FCC76A9}"/>
              </a:ext>
            </a:extLst>
          </p:cNvPr>
          <p:cNvSpPr/>
          <p:nvPr userDrawn="1"/>
        </p:nvSpPr>
        <p:spPr>
          <a:xfrm rot="17408984" flipH="1">
            <a:off x="-306984" y="-277922"/>
            <a:ext cx="2647720" cy="2280654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8884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8884" y="724009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1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03205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/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49B78C9-7BB7-49D7-954F-5AA9382FC932}"/>
              </a:ext>
            </a:extLst>
          </p:cNvPr>
          <p:cNvSpPr/>
          <p:nvPr userDrawn="1"/>
        </p:nvSpPr>
        <p:spPr>
          <a:xfrm rot="3341389" flipH="1">
            <a:off x="1622745" y="-3539070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0B949801-D1CB-4FAA-AA6A-7CA71D329D2D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09D40800-6625-A94C-8460-63F6730AD1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itle 3">
            <a:extLst>
              <a:ext uri="{FF2B5EF4-FFF2-40B4-BE49-F238E27FC236}">
                <a16:creationId xmlns:a16="http://schemas.microsoft.com/office/drawing/2014/main" id="{7AB5DCBE-1D2A-43D5-A777-58863EDF1C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716A898-5A89-4CA5-9B40-95FBB2829B5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1BEBC27-A4DD-4672-8056-53320A57DF87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ECBC53C-7DFD-4D73-BD13-DCA234AEE227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761282A5-D45A-4A07-8CAF-7B8F97E7B8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D3BC51-7691-417E-9C98-81FFA8F3AC8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DD5333B-D8D6-491C-8EAC-53588F8C3FC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2799" y="2249827"/>
            <a:ext cx="11303999" cy="388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305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546BC35-35BA-4F18-BB54-7267E0AF31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9" name="Right Triangle 8">
            <a:extLst>
              <a:ext uri="{FF2B5EF4-FFF2-40B4-BE49-F238E27FC236}">
                <a16:creationId xmlns:a16="http://schemas.microsoft.com/office/drawing/2014/main" id="{52F038EE-63DB-4468-A7FF-D4C488C62278}"/>
              </a:ext>
            </a:extLst>
          </p:cNvPr>
          <p:cNvSpPr/>
          <p:nvPr userDrawn="1"/>
        </p:nvSpPr>
        <p:spPr>
          <a:xfrm rot="16200000">
            <a:off x="9386887" y="4069666"/>
            <a:ext cx="2805111" cy="2805111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0C92DC8-8F9B-FD4C-A423-93681EAA05B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4357" y="1202822"/>
            <a:ext cx="8127643" cy="5655179"/>
          </a:xfrm>
          <a:custGeom>
            <a:avLst/>
            <a:gdLst>
              <a:gd name="connsiteX0" fmla="*/ 8127643 w 8127643"/>
              <a:gd name="connsiteY0" fmla="*/ 0 h 5655179"/>
              <a:gd name="connsiteX1" fmla="*/ 8127643 w 8127643"/>
              <a:gd name="connsiteY1" fmla="*/ 4020543 h 5655179"/>
              <a:gd name="connsiteX2" fmla="*/ 5775413 w 8127643"/>
              <a:gd name="connsiteY2" fmla="*/ 5655179 h 5655179"/>
              <a:gd name="connsiteX3" fmla="*/ 0 w 8127643"/>
              <a:gd name="connsiteY3" fmla="*/ 5655179 h 5655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27643" h="5655179">
                <a:moveTo>
                  <a:pt x="8127643" y="0"/>
                </a:moveTo>
                <a:lnTo>
                  <a:pt x="8127643" y="4020543"/>
                </a:lnTo>
                <a:lnTo>
                  <a:pt x="5775413" y="5655179"/>
                </a:lnTo>
                <a:lnTo>
                  <a:pt x="0" y="565517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2376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lang="en-GB" sz="18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  <a:p>
            <a:pPr marL="0" lvl="0" indent="0" algn="ctr">
              <a:buFont typeface="Arial" panose="020B0604020202020204" pitchFamily="34" charset="0"/>
              <a:buNone/>
            </a:pPr>
            <a:endParaRPr lang="en-GB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0324D3F-C030-485A-A8C3-01CA627A791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873B3ECE-66FA-8F4A-9BA4-70589FB28FA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199" y="3281163"/>
            <a:ext cx="6397626" cy="1218593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36A979B9-FB94-CB41-BC9E-B6C559E0F5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7197" y="1233488"/>
            <a:ext cx="6443999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D50170-9A03-4DF0-ADB1-B9E0F3635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00000"/>
            <a:ext cx="6443998" cy="990001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C11DD6-F2E7-4DAD-A8D2-25B1960A815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42800" y="6480000"/>
            <a:ext cx="2396518" cy="123111"/>
          </a:xfrm>
          <a:prstGeom prst="rect">
            <a:avLst/>
          </a:prstGeom>
        </p:spPr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3E106C1-E5A4-4F33-AEF9-E4AE65A838B4}"/>
              </a:ext>
            </a:extLst>
          </p:cNvPr>
          <p:cNvSpPr/>
          <p:nvPr userDrawn="1"/>
        </p:nvSpPr>
        <p:spPr>
          <a:xfrm rot="17391976" flipH="1">
            <a:off x="9340351" y="4575372"/>
            <a:ext cx="3055372" cy="2597595"/>
          </a:xfrm>
          <a:custGeom>
            <a:avLst/>
            <a:gdLst>
              <a:gd name="connsiteX0" fmla="*/ 0 w 4662314"/>
              <a:gd name="connsiteY0" fmla="*/ 3205489 h 3391128"/>
              <a:gd name="connsiteX1" fmla="*/ 513768 w 4662314"/>
              <a:gd name="connsiteY1" fmla="*/ 3391128 h 3391128"/>
              <a:gd name="connsiteX2" fmla="*/ 4662314 w 4662314"/>
              <a:gd name="connsiteY2" fmla="*/ 452233 h 3391128"/>
              <a:gd name="connsiteX3" fmla="*/ 4542036 w 4662314"/>
              <a:gd name="connsiteY3" fmla="*/ 0 h 3391128"/>
              <a:gd name="connsiteX0" fmla="*/ 0 w 4662314"/>
              <a:gd name="connsiteY0" fmla="*/ 3205489 h 3683558"/>
              <a:gd name="connsiteX1" fmla="*/ 1543623 w 4662314"/>
              <a:gd name="connsiteY1" fmla="*/ 3683558 h 3683558"/>
              <a:gd name="connsiteX2" fmla="*/ 4662314 w 4662314"/>
              <a:gd name="connsiteY2" fmla="*/ 452233 h 3683558"/>
              <a:gd name="connsiteX3" fmla="*/ 4542036 w 4662314"/>
              <a:gd name="connsiteY3" fmla="*/ 0 h 3683558"/>
              <a:gd name="connsiteX4" fmla="*/ 0 w 4662314"/>
              <a:gd name="connsiteY4" fmla="*/ 3205489 h 3683558"/>
              <a:gd name="connsiteX0" fmla="*/ 0 w 4662314"/>
              <a:gd name="connsiteY0" fmla="*/ 3205489 h 3744923"/>
              <a:gd name="connsiteX1" fmla="*/ 1586816 w 4662314"/>
              <a:gd name="connsiteY1" fmla="*/ 3744922 h 3744923"/>
              <a:gd name="connsiteX2" fmla="*/ 4662314 w 4662314"/>
              <a:gd name="connsiteY2" fmla="*/ 452233 h 3744923"/>
              <a:gd name="connsiteX3" fmla="*/ 4542036 w 4662314"/>
              <a:gd name="connsiteY3" fmla="*/ 0 h 3744923"/>
              <a:gd name="connsiteX4" fmla="*/ 0 w 4662314"/>
              <a:gd name="connsiteY4" fmla="*/ 3205489 h 3744923"/>
              <a:gd name="connsiteX0" fmla="*/ 0 w 4542036"/>
              <a:gd name="connsiteY0" fmla="*/ 3205489 h 3744922"/>
              <a:gd name="connsiteX1" fmla="*/ 1586816 w 4542036"/>
              <a:gd name="connsiteY1" fmla="*/ 3744922 h 3744922"/>
              <a:gd name="connsiteX2" fmla="*/ 3838762 w 4542036"/>
              <a:gd name="connsiteY2" fmla="*/ 2176681 h 3744922"/>
              <a:gd name="connsiteX3" fmla="*/ 4542036 w 4542036"/>
              <a:gd name="connsiteY3" fmla="*/ 0 h 3744922"/>
              <a:gd name="connsiteX4" fmla="*/ 0 w 4542036"/>
              <a:gd name="connsiteY4" fmla="*/ 3205489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838114 w 4541388"/>
              <a:gd name="connsiteY2" fmla="*/ 2176681 h 3744922"/>
              <a:gd name="connsiteX3" fmla="*/ 4541388 w 4541388"/>
              <a:gd name="connsiteY3" fmla="*/ 0 h 3744922"/>
              <a:gd name="connsiteX4" fmla="*/ 0 w 4541388"/>
              <a:gd name="connsiteY4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3838114 w 4541388"/>
              <a:gd name="connsiteY3" fmla="*/ 2176681 h 3744922"/>
              <a:gd name="connsiteX4" fmla="*/ 4541388 w 4541388"/>
              <a:gd name="connsiteY4" fmla="*/ 0 h 3744922"/>
              <a:gd name="connsiteX5" fmla="*/ 0 w 4541388"/>
              <a:gd name="connsiteY5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3838114 w 4541388"/>
              <a:gd name="connsiteY3" fmla="*/ 2176681 h 3744922"/>
              <a:gd name="connsiteX4" fmla="*/ 4541388 w 4541388"/>
              <a:gd name="connsiteY4" fmla="*/ 0 h 3744922"/>
              <a:gd name="connsiteX5" fmla="*/ 3906986 w 4541388"/>
              <a:gd name="connsiteY5" fmla="*/ 418650 h 3744922"/>
              <a:gd name="connsiteX6" fmla="*/ 0 w 4541388"/>
              <a:gd name="connsiteY6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4541388 w 4541388"/>
              <a:gd name="connsiteY3" fmla="*/ 0 h 3744922"/>
              <a:gd name="connsiteX4" fmla="*/ 3906986 w 4541388"/>
              <a:gd name="connsiteY4" fmla="*/ 418650 h 3744922"/>
              <a:gd name="connsiteX5" fmla="*/ 0 w 4541388"/>
              <a:gd name="connsiteY5" fmla="*/ 3179576 h 3744922"/>
              <a:gd name="connsiteX0" fmla="*/ 0 w 3906986"/>
              <a:gd name="connsiteY0" fmla="*/ 2760926 h 3326272"/>
              <a:gd name="connsiteX1" fmla="*/ 1586168 w 3906986"/>
              <a:gd name="connsiteY1" fmla="*/ 3326272 h 3326272"/>
              <a:gd name="connsiteX2" fmla="*/ 3117387 w 3906986"/>
              <a:gd name="connsiteY2" fmla="*/ 2233505 h 3326272"/>
              <a:gd name="connsiteX3" fmla="*/ 3906986 w 3906986"/>
              <a:gd name="connsiteY3" fmla="*/ 0 h 3326272"/>
              <a:gd name="connsiteX4" fmla="*/ 0 w 3906986"/>
              <a:gd name="connsiteY4" fmla="*/ 2760926 h 3326272"/>
              <a:gd name="connsiteX0" fmla="*/ 0 w 3944041"/>
              <a:gd name="connsiteY0" fmla="*/ 2791114 h 3356460"/>
              <a:gd name="connsiteX1" fmla="*/ 1586168 w 3944041"/>
              <a:gd name="connsiteY1" fmla="*/ 3356460 h 3356460"/>
              <a:gd name="connsiteX2" fmla="*/ 3117387 w 3944041"/>
              <a:gd name="connsiteY2" fmla="*/ 2263693 h 3356460"/>
              <a:gd name="connsiteX3" fmla="*/ 3944041 w 3944041"/>
              <a:gd name="connsiteY3" fmla="*/ 0 h 3356460"/>
              <a:gd name="connsiteX4" fmla="*/ 0 w 3944041"/>
              <a:gd name="connsiteY4" fmla="*/ 2791114 h 3356460"/>
              <a:gd name="connsiteX0" fmla="*/ 0 w 3944041"/>
              <a:gd name="connsiteY0" fmla="*/ 2791114 h 3353118"/>
              <a:gd name="connsiteX1" fmla="*/ 1576917 w 3944041"/>
              <a:gd name="connsiteY1" fmla="*/ 3353118 h 3353118"/>
              <a:gd name="connsiteX2" fmla="*/ 3117387 w 3944041"/>
              <a:gd name="connsiteY2" fmla="*/ 2263693 h 3353118"/>
              <a:gd name="connsiteX3" fmla="*/ 3944041 w 3944041"/>
              <a:gd name="connsiteY3" fmla="*/ 0 h 3353118"/>
              <a:gd name="connsiteX4" fmla="*/ 0 w 3944041"/>
              <a:gd name="connsiteY4" fmla="*/ 2791114 h 3353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4041" h="3353118">
                <a:moveTo>
                  <a:pt x="0" y="2791114"/>
                </a:moveTo>
                <a:lnTo>
                  <a:pt x="1576917" y="3353118"/>
                </a:lnTo>
                <a:lnTo>
                  <a:pt x="3117387" y="2263693"/>
                </a:lnTo>
                <a:lnTo>
                  <a:pt x="3944041" y="0"/>
                </a:lnTo>
                <a:lnTo>
                  <a:pt x="0" y="2791114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3666787-C34F-4060-9C0B-3567CC8D732A}"/>
              </a:ext>
            </a:extLst>
          </p:cNvPr>
          <p:cNvSpPr/>
          <p:nvPr userDrawn="1"/>
        </p:nvSpPr>
        <p:spPr>
          <a:xfrm rot="3299037">
            <a:off x="4967294" y="3351762"/>
            <a:ext cx="1106312" cy="5035605"/>
          </a:xfrm>
          <a:custGeom>
            <a:avLst/>
            <a:gdLst>
              <a:gd name="connsiteX0" fmla="*/ 0 w 1208279"/>
              <a:gd name="connsiteY0" fmla="*/ 444052 h 5841369"/>
              <a:gd name="connsiteX1" fmla="*/ 1208279 w 1208279"/>
              <a:gd name="connsiteY1" fmla="*/ 0 h 5841369"/>
              <a:gd name="connsiteX2" fmla="*/ 1208279 w 1208279"/>
              <a:gd name="connsiteY2" fmla="*/ 4116796 h 5841369"/>
              <a:gd name="connsiteX3" fmla="*/ 0 w 1208279"/>
              <a:gd name="connsiteY3" fmla="*/ 5841369 h 5841369"/>
              <a:gd name="connsiteX0" fmla="*/ 12488 w 1208279"/>
              <a:gd name="connsiteY0" fmla="*/ 290096 h 5841369"/>
              <a:gd name="connsiteX1" fmla="*/ 1208279 w 1208279"/>
              <a:gd name="connsiteY1" fmla="*/ 0 h 5841369"/>
              <a:gd name="connsiteX2" fmla="*/ 1208279 w 1208279"/>
              <a:gd name="connsiteY2" fmla="*/ 4116796 h 5841369"/>
              <a:gd name="connsiteX3" fmla="*/ 0 w 1208279"/>
              <a:gd name="connsiteY3" fmla="*/ 5841369 h 5841369"/>
              <a:gd name="connsiteX4" fmla="*/ 12488 w 1208279"/>
              <a:gd name="connsiteY4" fmla="*/ 290096 h 5841369"/>
              <a:gd name="connsiteX0" fmla="*/ 12488 w 1208279"/>
              <a:gd name="connsiteY0" fmla="*/ 386502 h 5937775"/>
              <a:gd name="connsiteX1" fmla="*/ 1118728 w 1208279"/>
              <a:gd name="connsiteY1" fmla="*/ 0 h 5937775"/>
              <a:gd name="connsiteX2" fmla="*/ 1208279 w 1208279"/>
              <a:gd name="connsiteY2" fmla="*/ 4213202 h 5937775"/>
              <a:gd name="connsiteX3" fmla="*/ 0 w 1208279"/>
              <a:gd name="connsiteY3" fmla="*/ 5937775 h 5937775"/>
              <a:gd name="connsiteX4" fmla="*/ 12488 w 1208279"/>
              <a:gd name="connsiteY4" fmla="*/ 386502 h 5937775"/>
              <a:gd name="connsiteX0" fmla="*/ 12488 w 1118728"/>
              <a:gd name="connsiteY0" fmla="*/ 386502 h 5937775"/>
              <a:gd name="connsiteX1" fmla="*/ 1118728 w 1118728"/>
              <a:gd name="connsiteY1" fmla="*/ 0 h 5937775"/>
              <a:gd name="connsiteX2" fmla="*/ 1098667 w 1118728"/>
              <a:gd name="connsiteY2" fmla="*/ 4377658 h 5937775"/>
              <a:gd name="connsiteX3" fmla="*/ 0 w 1118728"/>
              <a:gd name="connsiteY3" fmla="*/ 5937775 h 5937775"/>
              <a:gd name="connsiteX4" fmla="*/ 12488 w 1118728"/>
              <a:gd name="connsiteY4" fmla="*/ 386502 h 5937775"/>
              <a:gd name="connsiteX0" fmla="*/ 286229 w 1392469"/>
              <a:gd name="connsiteY0" fmla="*/ 386502 h 6395953"/>
              <a:gd name="connsiteX1" fmla="*/ 1392469 w 1392469"/>
              <a:gd name="connsiteY1" fmla="*/ 0 h 6395953"/>
              <a:gd name="connsiteX2" fmla="*/ 1372408 w 1392469"/>
              <a:gd name="connsiteY2" fmla="*/ 4377658 h 6395953"/>
              <a:gd name="connsiteX3" fmla="*/ 0 w 1392469"/>
              <a:gd name="connsiteY3" fmla="*/ 6395953 h 6395953"/>
              <a:gd name="connsiteX4" fmla="*/ 286229 w 1392469"/>
              <a:gd name="connsiteY4" fmla="*/ 386502 h 6395953"/>
              <a:gd name="connsiteX0" fmla="*/ 0 w 1405178"/>
              <a:gd name="connsiteY0" fmla="*/ 425228 h 6395953"/>
              <a:gd name="connsiteX1" fmla="*/ 1405178 w 1405178"/>
              <a:gd name="connsiteY1" fmla="*/ 0 h 6395953"/>
              <a:gd name="connsiteX2" fmla="*/ 1385117 w 1405178"/>
              <a:gd name="connsiteY2" fmla="*/ 4377658 h 6395953"/>
              <a:gd name="connsiteX3" fmla="*/ 12709 w 1405178"/>
              <a:gd name="connsiteY3" fmla="*/ 6395953 h 6395953"/>
              <a:gd name="connsiteX4" fmla="*/ 0 w 1405178"/>
              <a:gd name="connsiteY4" fmla="*/ 425228 h 6395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5178" h="6395953">
                <a:moveTo>
                  <a:pt x="0" y="425228"/>
                </a:moveTo>
                <a:lnTo>
                  <a:pt x="1405178" y="0"/>
                </a:lnTo>
                <a:lnTo>
                  <a:pt x="1385117" y="4377658"/>
                </a:lnTo>
                <a:cubicBezTo>
                  <a:pt x="1018895" y="4897697"/>
                  <a:pt x="378931" y="5875914"/>
                  <a:pt x="12709" y="6395953"/>
                </a:cubicBezTo>
                <a:cubicBezTo>
                  <a:pt x="12709" y="4596847"/>
                  <a:pt x="0" y="2224334"/>
                  <a:pt x="0" y="425228"/>
                </a:cubicBez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28281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6C145B5-FAED-4ECD-8026-AC6DFC2F67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0AF48DA9-E99B-4AAD-8AED-1F315BB61CAB}"/>
              </a:ext>
            </a:extLst>
          </p:cNvPr>
          <p:cNvSpPr/>
          <p:nvPr userDrawn="1"/>
        </p:nvSpPr>
        <p:spPr>
          <a:xfrm rot="5400000">
            <a:off x="0" y="1"/>
            <a:ext cx="3815466" cy="3815466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7132858-3690-C942-AE55-74072A035C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"/>
            <a:ext cx="5711211" cy="6857999"/>
          </a:xfrm>
          <a:custGeom>
            <a:avLst/>
            <a:gdLst>
              <a:gd name="connsiteX0" fmla="*/ 3888681 w 5711211"/>
              <a:gd name="connsiteY0" fmla="*/ 0 h 6857999"/>
              <a:gd name="connsiteX1" fmla="*/ 5711211 w 5711211"/>
              <a:gd name="connsiteY1" fmla="*/ 0 h 6857999"/>
              <a:gd name="connsiteX2" fmla="*/ 5711211 w 5711211"/>
              <a:gd name="connsiteY2" fmla="*/ 4103993 h 6857999"/>
              <a:gd name="connsiteX3" fmla="*/ 1739709 w 5711211"/>
              <a:gd name="connsiteY3" fmla="*/ 6857999 h 6857999"/>
              <a:gd name="connsiteX4" fmla="*/ 0 w 5711211"/>
              <a:gd name="connsiteY4" fmla="*/ 6857999 h 6857999"/>
              <a:gd name="connsiteX5" fmla="*/ 0 w 5711211"/>
              <a:gd name="connsiteY5" fmla="*/ 2714106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11211" h="6857999">
                <a:moveTo>
                  <a:pt x="3888681" y="0"/>
                </a:moveTo>
                <a:lnTo>
                  <a:pt x="5711211" y="0"/>
                </a:lnTo>
                <a:lnTo>
                  <a:pt x="5711211" y="4103993"/>
                </a:lnTo>
                <a:lnTo>
                  <a:pt x="1739709" y="6857999"/>
                </a:lnTo>
                <a:lnTo>
                  <a:pt x="0" y="6857999"/>
                </a:lnTo>
                <a:lnTo>
                  <a:pt x="0" y="2714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2414" y="2259127"/>
            <a:ext cx="4004633" cy="3810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Subtitle goes here</a:t>
            </a:r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2D878DF-45CE-48C4-ADBA-897AA41158B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F0A4E75-D008-4A3D-9E2B-EFA56AA2C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2415" y="3100375"/>
            <a:ext cx="4004632" cy="99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850966A-A907-44E5-AD4A-B2C25296B1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42415" y="4550622"/>
            <a:ext cx="4004632" cy="581046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5" name="Freeform: Shape 38">
            <a:extLst>
              <a:ext uri="{FF2B5EF4-FFF2-40B4-BE49-F238E27FC236}">
                <a16:creationId xmlns:a16="http://schemas.microsoft.com/office/drawing/2014/main" id="{CF0C42AB-56AB-4CD9-BC29-E642601C21CA}"/>
              </a:ext>
            </a:extLst>
          </p:cNvPr>
          <p:cNvSpPr/>
          <p:nvPr userDrawn="1"/>
        </p:nvSpPr>
        <p:spPr>
          <a:xfrm>
            <a:off x="1173742" y="4827938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Freeform: Shape 38">
            <a:extLst>
              <a:ext uri="{FF2B5EF4-FFF2-40B4-BE49-F238E27FC236}">
                <a16:creationId xmlns:a16="http://schemas.microsoft.com/office/drawing/2014/main" id="{64FAF79B-779C-47A3-89F1-134187E543EF}"/>
              </a:ext>
            </a:extLst>
          </p:cNvPr>
          <p:cNvSpPr/>
          <p:nvPr userDrawn="1"/>
        </p:nvSpPr>
        <p:spPr>
          <a:xfrm rot="10800000">
            <a:off x="137450" y="1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0"/>
                </a:schemeClr>
              </a:gs>
              <a:gs pos="74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D96DC3D-7488-477F-B5D0-C4E18D0F845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9325244" y="6480000"/>
            <a:ext cx="2396518" cy="123111"/>
          </a:xfrm>
          <a:prstGeom prst="rect">
            <a:avLst/>
          </a:prstGeom>
        </p:spPr>
        <p:txBody>
          <a:bodyPr/>
          <a:lstStyle/>
          <a:p>
            <a:pPr algn="r"/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37780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>
            <a:extLst>
              <a:ext uri="{FF2B5EF4-FFF2-40B4-BE49-F238E27FC236}">
                <a16:creationId xmlns:a16="http://schemas.microsoft.com/office/drawing/2014/main" id="{4772341C-3A62-40E3-A271-7A1F4DBF12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8" name="Right Triangle 27">
            <a:extLst>
              <a:ext uri="{FF2B5EF4-FFF2-40B4-BE49-F238E27FC236}">
                <a16:creationId xmlns:a16="http://schemas.microsoft.com/office/drawing/2014/main" id="{B60DFC2C-07E8-4CAB-9821-5B5C80DE58B7}"/>
              </a:ext>
            </a:extLst>
          </p:cNvPr>
          <p:cNvSpPr/>
          <p:nvPr userDrawn="1"/>
        </p:nvSpPr>
        <p:spPr>
          <a:xfrm rot="10800000">
            <a:off x="9386887" y="0"/>
            <a:ext cx="2805111" cy="2805111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A67C8A7-566E-6245-9CD3-9765B4FA66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2800" y="1366979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24EB0EA-8635-6443-A050-B3327AB273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5360" y="1392819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1D83DD92-09D1-EE43-BC80-83A0DE3D952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FBCBEE40-2AEA-476A-BD9F-C1BB81200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417059"/>
            <a:ext cx="5049102" cy="57044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Agenda</a:t>
            </a:r>
            <a:endParaRPr lang="en-GB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BBB72AD8-123F-41E4-AA6D-10D40E0974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2800" y="2146908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6CA4F9AE-634E-4C58-9C8D-2B1FAD50BD7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15360" y="2172748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AB83DAD6-F2E4-42E1-A4EE-C687615A3E0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800" y="2899597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90EDD940-259E-4829-8E35-E18B2D80EE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5360" y="2925437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9">
            <a:extLst>
              <a:ext uri="{FF2B5EF4-FFF2-40B4-BE49-F238E27FC236}">
                <a16:creationId xmlns:a16="http://schemas.microsoft.com/office/drawing/2014/main" id="{9802C2BE-B1B2-4E86-82FE-3D0646E918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2800" y="367952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18EBD071-CF30-4469-9F10-CB42C7916FA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15360" y="370536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B3C1887B-BFF0-4968-B8C3-0F83E66524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2800" y="443410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AA1582F3-1BA9-4358-BFE5-9640A017A06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15360" y="445994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1D0E6C05-C89A-499C-9021-D2FEEC605C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800" y="5214035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C9F730AD-E09A-4443-8E8F-D5734BB2D7E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015360" y="5239875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28">
            <a:extLst>
              <a:ext uri="{FF2B5EF4-FFF2-40B4-BE49-F238E27FC236}">
                <a16:creationId xmlns:a16="http://schemas.microsoft.com/office/drawing/2014/main" id="{53D3D8CF-E605-4768-9603-689E5785C0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205400" y="1"/>
            <a:ext cx="6986601" cy="4853941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6601" h="4853941">
                <a:moveTo>
                  <a:pt x="0" y="0"/>
                </a:moveTo>
                <a:lnTo>
                  <a:pt x="5002307" y="0"/>
                </a:lnTo>
                <a:lnTo>
                  <a:pt x="6986601" y="1372945"/>
                </a:lnTo>
                <a:lnTo>
                  <a:pt x="6986601" y="4853941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0447E7-2370-40EB-9592-91B302D0C28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20A95C-EC8F-41D4-AF1A-5BAA8A39A130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8C5B83D-D9AA-4B70-AD78-85BFC25F5E85}"/>
              </a:ext>
            </a:extLst>
          </p:cNvPr>
          <p:cNvSpPr/>
          <p:nvPr userDrawn="1"/>
        </p:nvSpPr>
        <p:spPr>
          <a:xfrm rot="4191016">
            <a:off x="483992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B4700A33-6DF5-4783-B61A-C9245483BD6A}"/>
              </a:ext>
            </a:extLst>
          </p:cNvPr>
          <p:cNvSpPr/>
          <p:nvPr userDrawn="1"/>
        </p:nvSpPr>
        <p:spPr>
          <a:xfrm flipH="1">
            <a:off x="9184940" y="3117122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4" name="Freeform: Shape 18">
            <a:extLst>
              <a:ext uri="{FF2B5EF4-FFF2-40B4-BE49-F238E27FC236}">
                <a16:creationId xmlns:a16="http://schemas.microsoft.com/office/drawing/2014/main" id="{3EA723EF-E362-4384-AE04-AB89112E4BC0}"/>
              </a:ext>
            </a:extLst>
          </p:cNvPr>
          <p:cNvSpPr/>
          <p:nvPr userDrawn="1"/>
        </p:nvSpPr>
        <p:spPr>
          <a:xfrm rot="4191016">
            <a:off x="10193741" y="-235643"/>
            <a:ext cx="2181945" cy="1879451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8884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8884" y="724009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1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8607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82F7940D-EF79-4226-9BE8-F97579C66B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3" name="Freeform 58">
            <a:extLst>
              <a:ext uri="{FF2B5EF4-FFF2-40B4-BE49-F238E27FC236}">
                <a16:creationId xmlns:a16="http://schemas.microsoft.com/office/drawing/2014/main" id="{448B1C5E-0964-4F56-AE2F-8D78251DFB2E}"/>
              </a:ext>
            </a:extLst>
          </p:cNvPr>
          <p:cNvSpPr/>
          <p:nvPr userDrawn="1"/>
        </p:nvSpPr>
        <p:spPr>
          <a:xfrm flipH="1">
            <a:off x="6039992" y="4849927"/>
            <a:ext cx="5107358" cy="2019426"/>
          </a:xfrm>
          <a:custGeom>
            <a:avLst/>
            <a:gdLst>
              <a:gd name="connsiteX0" fmla="*/ 2885571 w 5107358"/>
              <a:gd name="connsiteY0" fmla="*/ 0 h 2019426"/>
              <a:gd name="connsiteX1" fmla="*/ 0 w 5107358"/>
              <a:gd name="connsiteY1" fmla="*/ 2019426 h 2019426"/>
              <a:gd name="connsiteX2" fmla="*/ 2277819 w 5107358"/>
              <a:gd name="connsiteY2" fmla="*/ 2019426 h 2019426"/>
              <a:gd name="connsiteX3" fmla="*/ 5107358 w 5107358"/>
              <a:gd name="connsiteY3" fmla="*/ 67456 h 2019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07358" h="2019426">
                <a:moveTo>
                  <a:pt x="2885571" y="0"/>
                </a:moveTo>
                <a:lnTo>
                  <a:pt x="0" y="2019426"/>
                </a:lnTo>
                <a:lnTo>
                  <a:pt x="2277819" y="2019426"/>
                </a:lnTo>
                <a:lnTo>
                  <a:pt x="5107358" y="67456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E8368AC7-44BD-41FB-9A75-B45905F2D0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3200" cy="686554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7DA1266-9152-4A32-8502-59116D5DE105}"/>
              </a:ext>
            </a:extLst>
          </p:cNvPr>
          <p:cNvSpPr txBox="1">
            <a:spLocks/>
          </p:cNvSpPr>
          <p:nvPr/>
        </p:nvSpPr>
        <p:spPr>
          <a:xfrm flipH="1">
            <a:off x="457196" y="6436977"/>
            <a:ext cx="542041" cy="1908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A285110E-A93C-E24B-BA01-8EFF0EF70079}" type="slidenum">
              <a:rPr lang="en-US" sz="800" b="1">
                <a:solidFill>
                  <a:schemeClr val="bg2"/>
                </a:solidFill>
                <a:latin typeface="+mn-lt"/>
                <a:ea typeface="Cambria" panose="02040503050406030204" pitchFamily="18" charset="0"/>
              </a:rPr>
              <a:pPr algn="l"/>
              <a:t>‹#›</a:t>
            </a:fld>
            <a:endParaRPr lang="en-US" b="1">
              <a:solidFill>
                <a:schemeClr val="bg2"/>
              </a:solidFill>
              <a:latin typeface="+mn-lt"/>
              <a:ea typeface="Cambria" panose="02040503050406030204" pitchFamily="18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72791443-6809-8D4F-9966-7CEE87C136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1366979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4FEA392-9CF1-B94F-BB23-E79DFB2BCC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5360" y="1392819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CC8DEF04-C6F4-3344-B4ED-32374CA7DC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888" y="6426211"/>
            <a:ext cx="2396518" cy="22225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8883B2D1-073D-4B5D-8039-E523985156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417059"/>
            <a:ext cx="5049102" cy="57044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Agenda</a:t>
            </a:r>
            <a:endParaRPr lang="en-GB"/>
          </a:p>
        </p:txBody>
      </p:sp>
      <p:sp>
        <p:nvSpPr>
          <p:cNvPr id="51" name="Picture Placeholder 26">
            <a:extLst>
              <a:ext uri="{FF2B5EF4-FFF2-40B4-BE49-F238E27FC236}">
                <a16:creationId xmlns:a16="http://schemas.microsoft.com/office/drawing/2014/main" id="{5E8F5516-B38A-484B-A47A-802A26955F8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10622" y="0"/>
            <a:ext cx="5400119" cy="5460274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119" h="5460274">
                <a:moveTo>
                  <a:pt x="0" y="0"/>
                </a:moveTo>
                <a:lnTo>
                  <a:pt x="5400119" y="0"/>
                </a:lnTo>
                <a:lnTo>
                  <a:pt x="5400119" y="3577239"/>
                </a:lnTo>
                <a:lnTo>
                  <a:pt x="2691728" y="5460274"/>
                </a:lnTo>
                <a:lnTo>
                  <a:pt x="0" y="357091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52" name="Text Placeholder 18">
            <a:extLst>
              <a:ext uri="{FF2B5EF4-FFF2-40B4-BE49-F238E27FC236}">
                <a16:creationId xmlns:a16="http://schemas.microsoft.com/office/drawing/2014/main" id="{B2A32391-3567-484A-869F-44FEECB6DB3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7199" y="2146908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8651DA9B-1C09-43C3-914E-FB51BCEDD25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15360" y="2172748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18">
            <a:extLst>
              <a:ext uri="{FF2B5EF4-FFF2-40B4-BE49-F238E27FC236}">
                <a16:creationId xmlns:a16="http://schemas.microsoft.com/office/drawing/2014/main" id="{4CB8E277-ACFD-43B0-A39F-BE7615C5525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7199" y="2899597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B2D19412-D286-490A-AF62-E31A0BF7D47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015360" y="2925437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19">
            <a:extLst>
              <a:ext uri="{FF2B5EF4-FFF2-40B4-BE49-F238E27FC236}">
                <a16:creationId xmlns:a16="http://schemas.microsoft.com/office/drawing/2014/main" id="{DF0C502E-776E-4776-8238-1FE1C83A84C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57199" y="367952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8EF4CACF-C03A-48C7-B822-754560D9C81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015360" y="370536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22">
            <a:extLst>
              <a:ext uri="{FF2B5EF4-FFF2-40B4-BE49-F238E27FC236}">
                <a16:creationId xmlns:a16="http://schemas.microsoft.com/office/drawing/2014/main" id="{674752F6-7BC7-4D47-8BD4-0F3C1888021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57199" y="443410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AF5D34F2-66E3-41B5-8AED-0BBF0E02971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15360" y="445994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23">
            <a:extLst>
              <a:ext uri="{FF2B5EF4-FFF2-40B4-BE49-F238E27FC236}">
                <a16:creationId xmlns:a16="http://schemas.microsoft.com/office/drawing/2014/main" id="{5E230149-BE4F-40D6-BD20-6F4E31060B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7199" y="5214035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6B3F4D62-F616-458E-A8DA-D16D04772D2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015360" y="5239875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CC542C48-A55C-4471-A9A2-F86C8F9C76FA}"/>
              </a:ext>
            </a:extLst>
          </p:cNvPr>
          <p:cNvSpPr txBox="1">
            <a:spLocks/>
          </p:cNvSpPr>
          <p:nvPr userDrawn="1"/>
        </p:nvSpPr>
        <p:spPr>
          <a:xfrm flipH="1">
            <a:off x="457196" y="6436977"/>
            <a:ext cx="542041" cy="1908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A285110E-A93C-E24B-BA01-8EFF0EF70079}" type="slidenum">
              <a:rPr lang="en-US" sz="800" b="1">
                <a:solidFill>
                  <a:schemeClr val="bg2"/>
                </a:solidFill>
                <a:latin typeface="+mn-lt"/>
                <a:ea typeface="Cambria" panose="02040503050406030204" pitchFamily="18" charset="0"/>
              </a:rPr>
              <a:pPr algn="l"/>
              <a:t>‹#›</a:t>
            </a:fld>
            <a:endParaRPr lang="en-US" b="1">
              <a:solidFill>
                <a:schemeClr val="bg2"/>
              </a:solidFill>
              <a:latin typeface="+mn-lt"/>
              <a:ea typeface="Cambria" panose="02040503050406030204" pitchFamily="18" charset="0"/>
            </a:endParaRP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568908CF-F714-4E88-AF35-787D043DF0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2400" cy="270176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D89F2555-353E-491E-B9B0-CCB5DF8A35F4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6" name="Freeform 56">
            <a:extLst>
              <a:ext uri="{FF2B5EF4-FFF2-40B4-BE49-F238E27FC236}">
                <a16:creationId xmlns:a16="http://schemas.microsoft.com/office/drawing/2014/main" id="{1EA7358F-3E9C-44B1-AA6B-15D6F32DCB12}"/>
              </a:ext>
            </a:extLst>
          </p:cNvPr>
          <p:cNvSpPr/>
          <p:nvPr userDrawn="1"/>
        </p:nvSpPr>
        <p:spPr>
          <a:xfrm rot="4196304">
            <a:off x="8884361" y="4991240"/>
            <a:ext cx="2563893" cy="2048405"/>
          </a:xfrm>
          <a:custGeom>
            <a:avLst/>
            <a:gdLst>
              <a:gd name="connsiteX0" fmla="*/ 0 w 2264587"/>
              <a:gd name="connsiteY0" fmla="*/ 1545382 h 1809276"/>
              <a:gd name="connsiteX1" fmla="*/ 2264587 w 2264587"/>
              <a:gd name="connsiteY1" fmla="*/ 0 h 1809276"/>
              <a:gd name="connsiteX2" fmla="*/ 2132172 w 2264587"/>
              <a:gd name="connsiteY2" fmla="*/ 291012 h 1809276"/>
              <a:gd name="connsiteX3" fmla="*/ 2093985 w 2264587"/>
              <a:gd name="connsiteY3" fmla="*/ 395084 h 1809276"/>
              <a:gd name="connsiteX4" fmla="*/ 64114 w 2264587"/>
              <a:gd name="connsiteY4" fmla="*/ 1809276 h 1809276"/>
              <a:gd name="connsiteX5" fmla="*/ 53640 w 2264587"/>
              <a:gd name="connsiteY5" fmla="*/ 1768484 h 1809276"/>
              <a:gd name="connsiteX6" fmla="*/ 0 w 2264587"/>
              <a:gd name="connsiteY6" fmla="*/ 1545382 h 1809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4587" h="1809276">
                <a:moveTo>
                  <a:pt x="0" y="1545382"/>
                </a:moveTo>
                <a:lnTo>
                  <a:pt x="2264587" y="0"/>
                </a:lnTo>
                <a:lnTo>
                  <a:pt x="2132172" y="291012"/>
                </a:lnTo>
                <a:lnTo>
                  <a:pt x="2093985" y="395084"/>
                </a:lnTo>
                <a:lnTo>
                  <a:pt x="64114" y="1809276"/>
                </a:lnTo>
                <a:lnTo>
                  <a:pt x="53640" y="1768484"/>
                </a:lnTo>
                <a:cubicBezTo>
                  <a:pt x="30342" y="1675775"/>
                  <a:pt x="31426" y="1665603"/>
                  <a:pt x="0" y="1545382"/>
                </a:cubicBez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2902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5530E5C5-C4EE-4F48-993F-0A393A6068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1" name="Freeform 20">
            <a:extLst>
              <a:ext uri="{FF2B5EF4-FFF2-40B4-BE49-F238E27FC236}">
                <a16:creationId xmlns:a16="http://schemas.microsoft.com/office/drawing/2014/main" id="{AD3AE23F-988B-564F-876F-C0158BED6563}"/>
              </a:ext>
            </a:extLst>
          </p:cNvPr>
          <p:cNvSpPr/>
          <p:nvPr/>
        </p:nvSpPr>
        <p:spPr>
          <a:xfrm>
            <a:off x="0" y="-15396"/>
            <a:ext cx="3119527" cy="2170074"/>
          </a:xfrm>
          <a:custGeom>
            <a:avLst/>
            <a:gdLst>
              <a:gd name="connsiteX0" fmla="*/ 0 w 3119527"/>
              <a:gd name="connsiteY0" fmla="*/ 0 h 2170074"/>
              <a:gd name="connsiteX1" fmla="*/ 3119527 w 3119527"/>
              <a:gd name="connsiteY1" fmla="*/ 1224 h 2170074"/>
              <a:gd name="connsiteX2" fmla="*/ 0 w 3119527"/>
              <a:gd name="connsiteY2" fmla="*/ 2170074 h 2170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19527" h="2170074">
                <a:moveTo>
                  <a:pt x="0" y="0"/>
                </a:moveTo>
                <a:lnTo>
                  <a:pt x="3119527" y="1224"/>
                </a:lnTo>
                <a:lnTo>
                  <a:pt x="0" y="2170074"/>
                </a:lnTo>
                <a:close/>
              </a:path>
            </a:pathLst>
          </a:custGeom>
          <a:gradFill>
            <a:gsLst>
              <a:gs pos="0">
                <a:srgbClr val="007199"/>
              </a:gs>
              <a:gs pos="100000">
                <a:srgbClr val="00AECF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3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64203167-F8D4-5045-BC57-8D5D46A2DF5D}"/>
              </a:ext>
            </a:extLst>
          </p:cNvPr>
          <p:cNvSpPr/>
          <p:nvPr/>
        </p:nvSpPr>
        <p:spPr>
          <a:xfrm>
            <a:off x="0" y="-9519"/>
            <a:ext cx="2249484" cy="1571852"/>
          </a:xfrm>
          <a:custGeom>
            <a:avLst/>
            <a:gdLst>
              <a:gd name="connsiteX0" fmla="*/ 2249484 w 2249484"/>
              <a:gd name="connsiteY0" fmla="*/ 0 h 1571852"/>
              <a:gd name="connsiteX1" fmla="*/ 0 w 2249484"/>
              <a:gd name="connsiteY1" fmla="*/ 1571852 h 1571852"/>
              <a:gd name="connsiteX2" fmla="*/ 0 w 2249484"/>
              <a:gd name="connsiteY2" fmla="*/ 5454 h 157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9484" h="1571852">
                <a:moveTo>
                  <a:pt x="2249484" y="0"/>
                </a:moveTo>
                <a:lnTo>
                  <a:pt x="0" y="1571852"/>
                </a:lnTo>
                <a:lnTo>
                  <a:pt x="0" y="5454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62000">
                <a:srgbClr val="073262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BD1E0693-F664-448A-9D7A-93A03D6B7E90}"/>
              </a:ext>
            </a:extLst>
          </p:cNvPr>
          <p:cNvSpPr/>
          <p:nvPr/>
        </p:nvSpPr>
        <p:spPr>
          <a:xfrm>
            <a:off x="-11983" y="1997929"/>
            <a:ext cx="887194" cy="1242604"/>
          </a:xfrm>
          <a:custGeom>
            <a:avLst/>
            <a:gdLst>
              <a:gd name="connsiteX0" fmla="*/ 19050 w 1838325"/>
              <a:gd name="connsiteY0" fmla="*/ 0 h 1276350"/>
              <a:gd name="connsiteX1" fmla="*/ 1838325 w 1838325"/>
              <a:gd name="connsiteY1" fmla="*/ 1276350 h 1276350"/>
              <a:gd name="connsiteX2" fmla="*/ 0 w 1838325"/>
              <a:gd name="connsiteY2" fmla="*/ 1276350 h 1276350"/>
              <a:gd name="connsiteX3" fmla="*/ 19050 w 1838325"/>
              <a:gd name="connsiteY3" fmla="*/ 0 h 1276350"/>
              <a:gd name="connsiteX0" fmla="*/ 0 w 1819275"/>
              <a:gd name="connsiteY0" fmla="*/ 0 h 1276350"/>
              <a:gd name="connsiteX1" fmla="*/ 1819275 w 1819275"/>
              <a:gd name="connsiteY1" fmla="*/ 1276350 h 1276350"/>
              <a:gd name="connsiteX2" fmla="*/ 20790 w 1819275"/>
              <a:gd name="connsiteY2" fmla="*/ 1276350 h 1276350"/>
              <a:gd name="connsiteX3" fmla="*/ 0 w 1819275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9407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2046931"/>
              <a:gd name="connsiteY0" fmla="*/ 0 h 1274281"/>
              <a:gd name="connsiteX1" fmla="*/ 2046931 w 2046931"/>
              <a:gd name="connsiteY1" fmla="*/ 1268074 h 1274281"/>
              <a:gd name="connsiteX2" fmla="*/ 3717 w 2046931"/>
              <a:gd name="connsiteY2" fmla="*/ 1274281 h 1274281"/>
              <a:gd name="connsiteX3" fmla="*/ 0 w 2046931"/>
              <a:gd name="connsiteY3" fmla="*/ 0 h 1274281"/>
              <a:gd name="connsiteX0" fmla="*/ 0 w 2046931"/>
              <a:gd name="connsiteY0" fmla="*/ 0 h 1141859"/>
              <a:gd name="connsiteX1" fmla="*/ 2046931 w 2046931"/>
              <a:gd name="connsiteY1" fmla="*/ 1135652 h 1141859"/>
              <a:gd name="connsiteX2" fmla="*/ 3717 w 2046931"/>
              <a:gd name="connsiteY2" fmla="*/ 1141859 h 1141859"/>
              <a:gd name="connsiteX3" fmla="*/ 0 w 2046931"/>
              <a:gd name="connsiteY3" fmla="*/ 0 h 1141859"/>
              <a:gd name="connsiteX0" fmla="*/ 19318 w 2066249"/>
              <a:gd name="connsiteY0" fmla="*/ 0 h 1994325"/>
              <a:gd name="connsiteX1" fmla="*/ 2066249 w 2066249"/>
              <a:gd name="connsiteY1" fmla="*/ 1135652 h 1994325"/>
              <a:gd name="connsiteX2" fmla="*/ 269 w 2066249"/>
              <a:gd name="connsiteY2" fmla="*/ 1994325 h 1994325"/>
              <a:gd name="connsiteX3" fmla="*/ 19318 w 2066249"/>
              <a:gd name="connsiteY3" fmla="*/ 0 h 1994325"/>
              <a:gd name="connsiteX0" fmla="*/ 19318 w 2043483"/>
              <a:gd name="connsiteY0" fmla="*/ 0 h 1994325"/>
              <a:gd name="connsiteX1" fmla="*/ 2043483 w 2043483"/>
              <a:gd name="connsiteY1" fmla="*/ 1110823 h 1994325"/>
              <a:gd name="connsiteX2" fmla="*/ 269 w 2043483"/>
              <a:gd name="connsiteY2" fmla="*/ 1994325 h 1994325"/>
              <a:gd name="connsiteX3" fmla="*/ 19318 w 2043483"/>
              <a:gd name="connsiteY3" fmla="*/ 0 h 1994325"/>
              <a:gd name="connsiteX0" fmla="*/ 8129 w 2032294"/>
              <a:gd name="connsiteY0" fmla="*/ 0 h 2159852"/>
              <a:gd name="connsiteX1" fmla="*/ 2032294 w 2032294"/>
              <a:gd name="connsiteY1" fmla="*/ 1110823 h 2159852"/>
              <a:gd name="connsiteX2" fmla="*/ 463 w 2032294"/>
              <a:gd name="connsiteY2" fmla="*/ 2159852 h 2159852"/>
              <a:gd name="connsiteX3" fmla="*/ 8129 w 2032294"/>
              <a:gd name="connsiteY3" fmla="*/ 0 h 2159852"/>
              <a:gd name="connsiteX0" fmla="*/ 0 w 2104430"/>
              <a:gd name="connsiteY0" fmla="*/ 0 h 1843086"/>
              <a:gd name="connsiteX1" fmla="*/ 2104430 w 2104430"/>
              <a:gd name="connsiteY1" fmla="*/ 794057 h 1843086"/>
              <a:gd name="connsiteX2" fmla="*/ 72599 w 2104430"/>
              <a:gd name="connsiteY2" fmla="*/ 1843086 h 1843086"/>
              <a:gd name="connsiteX3" fmla="*/ 0 w 2104430"/>
              <a:gd name="connsiteY3" fmla="*/ 0 h 1843086"/>
              <a:gd name="connsiteX0" fmla="*/ 0 w 2044232"/>
              <a:gd name="connsiteY0" fmla="*/ 0 h 2152308"/>
              <a:gd name="connsiteX1" fmla="*/ 2044232 w 2044232"/>
              <a:gd name="connsiteY1" fmla="*/ 1103279 h 2152308"/>
              <a:gd name="connsiteX2" fmla="*/ 12401 w 2044232"/>
              <a:gd name="connsiteY2" fmla="*/ 2152308 h 2152308"/>
              <a:gd name="connsiteX3" fmla="*/ 0 w 2044232"/>
              <a:gd name="connsiteY3" fmla="*/ 0 h 2152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4232" h="2152308">
                <a:moveTo>
                  <a:pt x="0" y="0"/>
                </a:moveTo>
                <a:lnTo>
                  <a:pt x="2044232" y="1103279"/>
                </a:lnTo>
                <a:lnTo>
                  <a:pt x="12401" y="2152308"/>
                </a:lnTo>
                <a:cubicBezTo>
                  <a:pt x="9265" y="1726858"/>
                  <a:pt x="3136" y="425450"/>
                  <a:pt x="0" y="0"/>
                </a:cubicBezTo>
                <a:close/>
              </a:path>
            </a:pathLst>
          </a:custGeom>
          <a:gradFill>
            <a:gsLst>
              <a:gs pos="9000">
                <a:srgbClr val="FF555F">
                  <a:alpha val="0"/>
                </a:srgbClr>
              </a:gs>
              <a:gs pos="100000">
                <a:srgbClr val="FF555F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5BDCB9F-EF00-4740-A039-6C5374289B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48114" y="0"/>
            <a:ext cx="8543886" cy="5941720"/>
          </a:xfrm>
          <a:custGeom>
            <a:avLst/>
            <a:gdLst>
              <a:gd name="connsiteX0" fmla="*/ 0 w 8543886"/>
              <a:gd name="connsiteY0" fmla="*/ 0 h 5941720"/>
              <a:gd name="connsiteX1" fmla="*/ 8543886 w 8543886"/>
              <a:gd name="connsiteY1" fmla="*/ 0 h 5941720"/>
              <a:gd name="connsiteX2" fmla="*/ 8543886 w 8543886"/>
              <a:gd name="connsiteY2" fmla="*/ 5941720 h 594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886" h="5941720">
                <a:moveTo>
                  <a:pt x="0" y="0"/>
                </a:moveTo>
                <a:lnTo>
                  <a:pt x="8543886" y="0"/>
                </a:lnTo>
                <a:lnTo>
                  <a:pt x="8543886" y="594172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4972997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B87D776C-79F6-D44E-9FFA-CA482D54AFB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ACEF1787-A2E1-458A-BF2D-A3E6A5C67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560262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1</a:t>
            </a:r>
            <a:endParaRPr lang="en-GB"/>
          </a:p>
        </p:txBody>
      </p:sp>
      <p:sp>
        <p:nvSpPr>
          <p:cNvPr id="20" name="Freeform 17">
            <a:extLst>
              <a:ext uri="{FF2B5EF4-FFF2-40B4-BE49-F238E27FC236}">
                <a16:creationId xmlns:a16="http://schemas.microsoft.com/office/drawing/2014/main" id="{667D5848-2C00-434A-95F4-0BB2E59ACF12}"/>
              </a:ext>
            </a:extLst>
          </p:cNvPr>
          <p:cNvSpPr/>
          <p:nvPr userDrawn="1"/>
        </p:nvSpPr>
        <p:spPr>
          <a:xfrm>
            <a:off x="0" y="-9519"/>
            <a:ext cx="2249484" cy="1571852"/>
          </a:xfrm>
          <a:custGeom>
            <a:avLst/>
            <a:gdLst>
              <a:gd name="connsiteX0" fmla="*/ 2249484 w 2249484"/>
              <a:gd name="connsiteY0" fmla="*/ 0 h 1571852"/>
              <a:gd name="connsiteX1" fmla="*/ 0 w 2249484"/>
              <a:gd name="connsiteY1" fmla="*/ 1571852 h 1571852"/>
              <a:gd name="connsiteX2" fmla="*/ 0 w 2249484"/>
              <a:gd name="connsiteY2" fmla="*/ 5454 h 157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9484" h="1571852">
                <a:moveTo>
                  <a:pt x="2249484" y="0"/>
                </a:moveTo>
                <a:lnTo>
                  <a:pt x="0" y="1571852"/>
                </a:lnTo>
                <a:lnTo>
                  <a:pt x="0" y="5454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62000">
                <a:srgbClr val="073262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B97E7568-823C-4CBD-8378-DB4576EA10FD}"/>
              </a:ext>
            </a:extLst>
          </p:cNvPr>
          <p:cNvSpPr/>
          <p:nvPr userDrawn="1"/>
        </p:nvSpPr>
        <p:spPr>
          <a:xfrm>
            <a:off x="-11983" y="1997929"/>
            <a:ext cx="887194" cy="1242604"/>
          </a:xfrm>
          <a:custGeom>
            <a:avLst/>
            <a:gdLst>
              <a:gd name="connsiteX0" fmla="*/ 19050 w 1838325"/>
              <a:gd name="connsiteY0" fmla="*/ 0 h 1276350"/>
              <a:gd name="connsiteX1" fmla="*/ 1838325 w 1838325"/>
              <a:gd name="connsiteY1" fmla="*/ 1276350 h 1276350"/>
              <a:gd name="connsiteX2" fmla="*/ 0 w 1838325"/>
              <a:gd name="connsiteY2" fmla="*/ 1276350 h 1276350"/>
              <a:gd name="connsiteX3" fmla="*/ 19050 w 1838325"/>
              <a:gd name="connsiteY3" fmla="*/ 0 h 1276350"/>
              <a:gd name="connsiteX0" fmla="*/ 0 w 1819275"/>
              <a:gd name="connsiteY0" fmla="*/ 0 h 1276350"/>
              <a:gd name="connsiteX1" fmla="*/ 1819275 w 1819275"/>
              <a:gd name="connsiteY1" fmla="*/ 1276350 h 1276350"/>
              <a:gd name="connsiteX2" fmla="*/ 20790 w 1819275"/>
              <a:gd name="connsiteY2" fmla="*/ 1276350 h 1276350"/>
              <a:gd name="connsiteX3" fmla="*/ 0 w 1819275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9407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2046931"/>
              <a:gd name="connsiteY0" fmla="*/ 0 h 1274281"/>
              <a:gd name="connsiteX1" fmla="*/ 2046931 w 2046931"/>
              <a:gd name="connsiteY1" fmla="*/ 1268074 h 1274281"/>
              <a:gd name="connsiteX2" fmla="*/ 3717 w 2046931"/>
              <a:gd name="connsiteY2" fmla="*/ 1274281 h 1274281"/>
              <a:gd name="connsiteX3" fmla="*/ 0 w 2046931"/>
              <a:gd name="connsiteY3" fmla="*/ 0 h 1274281"/>
              <a:gd name="connsiteX0" fmla="*/ 0 w 2046931"/>
              <a:gd name="connsiteY0" fmla="*/ 0 h 1141859"/>
              <a:gd name="connsiteX1" fmla="*/ 2046931 w 2046931"/>
              <a:gd name="connsiteY1" fmla="*/ 1135652 h 1141859"/>
              <a:gd name="connsiteX2" fmla="*/ 3717 w 2046931"/>
              <a:gd name="connsiteY2" fmla="*/ 1141859 h 1141859"/>
              <a:gd name="connsiteX3" fmla="*/ 0 w 2046931"/>
              <a:gd name="connsiteY3" fmla="*/ 0 h 1141859"/>
              <a:gd name="connsiteX0" fmla="*/ 19318 w 2066249"/>
              <a:gd name="connsiteY0" fmla="*/ 0 h 1994325"/>
              <a:gd name="connsiteX1" fmla="*/ 2066249 w 2066249"/>
              <a:gd name="connsiteY1" fmla="*/ 1135652 h 1994325"/>
              <a:gd name="connsiteX2" fmla="*/ 269 w 2066249"/>
              <a:gd name="connsiteY2" fmla="*/ 1994325 h 1994325"/>
              <a:gd name="connsiteX3" fmla="*/ 19318 w 2066249"/>
              <a:gd name="connsiteY3" fmla="*/ 0 h 1994325"/>
              <a:gd name="connsiteX0" fmla="*/ 19318 w 2043483"/>
              <a:gd name="connsiteY0" fmla="*/ 0 h 1994325"/>
              <a:gd name="connsiteX1" fmla="*/ 2043483 w 2043483"/>
              <a:gd name="connsiteY1" fmla="*/ 1110823 h 1994325"/>
              <a:gd name="connsiteX2" fmla="*/ 269 w 2043483"/>
              <a:gd name="connsiteY2" fmla="*/ 1994325 h 1994325"/>
              <a:gd name="connsiteX3" fmla="*/ 19318 w 2043483"/>
              <a:gd name="connsiteY3" fmla="*/ 0 h 1994325"/>
              <a:gd name="connsiteX0" fmla="*/ 8129 w 2032294"/>
              <a:gd name="connsiteY0" fmla="*/ 0 h 2159852"/>
              <a:gd name="connsiteX1" fmla="*/ 2032294 w 2032294"/>
              <a:gd name="connsiteY1" fmla="*/ 1110823 h 2159852"/>
              <a:gd name="connsiteX2" fmla="*/ 463 w 2032294"/>
              <a:gd name="connsiteY2" fmla="*/ 2159852 h 2159852"/>
              <a:gd name="connsiteX3" fmla="*/ 8129 w 2032294"/>
              <a:gd name="connsiteY3" fmla="*/ 0 h 2159852"/>
              <a:gd name="connsiteX0" fmla="*/ 0 w 2104430"/>
              <a:gd name="connsiteY0" fmla="*/ 0 h 1843086"/>
              <a:gd name="connsiteX1" fmla="*/ 2104430 w 2104430"/>
              <a:gd name="connsiteY1" fmla="*/ 794057 h 1843086"/>
              <a:gd name="connsiteX2" fmla="*/ 72599 w 2104430"/>
              <a:gd name="connsiteY2" fmla="*/ 1843086 h 1843086"/>
              <a:gd name="connsiteX3" fmla="*/ 0 w 2104430"/>
              <a:gd name="connsiteY3" fmla="*/ 0 h 1843086"/>
              <a:gd name="connsiteX0" fmla="*/ 0 w 2044232"/>
              <a:gd name="connsiteY0" fmla="*/ 0 h 2152308"/>
              <a:gd name="connsiteX1" fmla="*/ 2044232 w 2044232"/>
              <a:gd name="connsiteY1" fmla="*/ 1103279 h 2152308"/>
              <a:gd name="connsiteX2" fmla="*/ 12401 w 2044232"/>
              <a:gd name="connsiteY2" fmla="*/ 2152308 h 2152308"/>
              <a:gd name="connsiteX3" fmla="*/ 0 w 2044232"/>
              <a:gd name="connsiteY3" fmla="*/ 0 h 2152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4232" h="2152308">
                <a:moveTo>
                  <a:pt x="0" y="0"/>
                </a:moveTo>
                <a:lnTo>
                  <a:pt x="2044232" y="1103279"/>
                </a:lnTo>
                <a:lnTo>
                  <a:pt x="12401" y="2152308"/>
                </a:lnTo>
                <a:cubicBezTo>
                  <a:pt x="9265" y="1726858"/>
                  <a:pt x="3136" y="425450"/>
                  <a:pt x="0" y="0"/>
                </a:cubicBezTo>
                <a:close/>
              </a:path>
            </a:pathLst>
          </a:custGeom>
          <a:gradFill>
            <a:gsLst>
              <a:gs pos="9000">
                <a:srgbClr val="FF555F">
                  <a:alpha val="0"/>
                </a:srgbClr>
              </a:gs>
              <a:gs pos="100000">
                <a:srgbClr val="FF555F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2F7F916-A56A-41E0-AB16-47964E93C7B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77A96C76-0097-4274-9DA2-D1F8E7937F33}"/>
              </a:ext>
            </a:extLst>
          </p:cNvPr>
          <p:cNvSpPr/>
          <p:nvPr userDrawn="1"/>
        </p:nvSpPr>
        <p:spPr>
          <a:xfrm rot="4191016">
            <a:off x="3401016" y="-500975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D4A7702-172F-4F6B-8FA4-0097A75DF785}"/>
              </a:ext>
            </a:extLst>
          </p:cNvPr>
          <p:cNvSpPr/>
          <p:nvPr userDrawn="1"/>
        </p:nvSpPr>
        <p:spPr>
          <a:xfrm flipH="1">
            <a:off x="9184940" y="3705794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5939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BD80A45-67E2-49BA-9E9D-E5B6DFBDBD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37363E61-7CF1-A94D-B206-5B49A9CC19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28966" y="141209"/>
            <a:ext cx="9663034" cy="6716791"/>
          </a:xfrm>
          <a:custGeom>
            <a:avLst/>
            <a:gdLst>
              <a:gd name="connsiteX0" fmla="*/ 9663034 w 9663034"/>
              <a:gd name="connsiteY0" fmla="*/ 0 h 6716791"/>
              <a:gd name="connsiteX1" fmla="*/ 9663034 w 9663034"/>
              <a:gd name="connsiteY1" fmla="*/ 4814575 h 6716791"/>
              <a:gd name="connsiteX2" fmla="*/ 6941731 w 9663034"/>
              <a:gd name="connsiteY2" fmla="*/ 6716791 h 6716791"/>
              <a:gd name="connsiteX3" fmla="*/ 0 w 9663034"/>
              <a:gd name="connsiteY3" fmla="*/ 6716791 h 6716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63034" h="6716791">
                <a:moveTo>
                  <a:pt x="9663034" y="0"/>
                </a:moveTo>
                <a:lnTo>
                  <a:pt x="9663034" y="4814575"/>
                </a:lnTo>
                <a:lnTo>
                  <a:pt x="6941731" y="6716791"/>
                </a:lnTo>
                <a:lnTo>
                  <a:pt x="0" y="67167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2645439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6A93C236-DDC8-AB42-B158-C3A75D57257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EB28338C-0118-4339-8B11-1628D97DA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1246559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2</a:t>
            </a:r>
            <a:endParaRPr lang="en-GB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842DA984-1D2F-2140-8491-B516D776CAC4}"/>
              </a:ext>
            </a:extLst>
          </p:cNvPr>
          <p:cNvSpPr/>
          <p:nvPr userDrawn="1"/>
        </p:nvSpPr>
        <p:spPr>
          <a:xfrm>
            <a:off x="0" y="4910678"/>
            <a:ext cx="4279900" cy="1947322"/>
          </a:xfrm>
          <a:custGeom>
            <a:avLst/>
            <a:gdLst>
              <a:gd name="connsiteX0" fmla="*/ 1467015 w 4279900"/>
              <a:gd name="connsiteY0" fmla="*/ 0 h 1947322"/>
              <a:gd name="connsiteX1" fmla="*/ 4279900 w 4279900"/>
              <a:gd name="connsiteY1" fmla="*/ 1947322 h 1947322"/>
              <a:gd name="connsiteX2" fmla="*/ 0 w 4279900"/>
              <a:gd name="connsiteY2" fmla="*/ 1947322 h 1947322"/>
              <a:gd name="connsiteX3" fmla="*/ 0 w 4279900"/>
              <a:gd name="connsiteY3" fmla="*/ 1020577 h 1947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79900" h="1947322">
                <a:moveTo>
                  <a:pt x="1467015" y="0"/>
                </a:moveTo>
                <a:lnTo>
                  <a:pt x="4279900" y="1947322"/>
                </a:lnTo>
                <a:lnTo>
                  <a:pt x="0" y="1947322"/>
                </a:lnTo>
                <a:lnTo>
                  <a:pt x="0" y="102057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chemeClr val="accent2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321975A5-5726-314A-B546-DA0044580E14}"/>
              </a:ext>
            </a:extLst>
          </p:cNvPr>
          <p:cNvSpPr/>
          <p:nvPr userDrawn="1"/>
        </p:nvSpPr>
        <p:spPr>
          <a:xfrm>
            <a:off x="1745857" y="5440650"/>
            <a:ext cx="2442751" cy="1417350"/>
          </a:xfrm>
          <a:custGeom>
            <a:avLst/>
            <a:gdLst>
              <a:gd name="connsiteX0" fmla="*/ 2031703 w 2442751"/>
              <a:gd name="connsiteY0" fmla="*/ 0 h 1417350"/>
              <a:gd name="connsiteX1" fmla="*/ 2442751 w 2442751"/>
              <a:gd name="connsiteY1" fmla="*/ 267995 h 1417350"/>
              <a:gd name="connsiteX2" fmla="*/ 783199 w 2442751"/>
              <a:gd name="connsiteY2" fmla="*/ 1417350 h 1417350"/>
              <a:gd name="connsiteX3" fmla="*/ 0 w 2442751"/>
              <a:gd name="connsiteY3" fmla="*/ 1417350 h 141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2751" h="1417350">
                <a:moveTo>
                  <a:pt x="2031703" y="0"/>
                </a:moveTo>
                <a:lnTo>
                  <a:pt x="2442751" y="267995"/>
                </a:lnTo>
                <a:lnTo>
                  <a:pt x="783199" y="1417350"/>
                </a:lnTo>
                <a:lnTo>
                  <a:pt x="0" y="141735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8D284C-7154-401F-9518-EB35035E34D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30" name="Freeform 28">
            <a:extLst>
              <a:ext uri="{FF2B5EF4-FFF2-40B4-BE49-F238E27FC236}">
                <a16:creationId xmlns:a16="http://schemas.microsoft.com/office/drawing/2014/main" id="{447BDDC6-505D-4732-B677-284CBEC734D1}"/>
              </a:ext>
            </a:extLst>
          </p:cNvPr>
          <p:cNvSpPr/>
          <p:nvPr userDrawn="1"/>
        </p:nvSpPr>
        <p:spPr>
          <a:xfrm rot="10800000">
            <a:off x="9763185" y="-1"/>
            <a:ext cx="2428815" cy="1426848"/>
          </a:xfrm>
          <a:custGeom>
            <a:avLst/>
            <a:gdLst>
              <a:gd name="connsiteX0" fmla="*/ 991465 w 2428815"/>
              <a:gd name="connsiteY0" fmla="*/ 1426848 h 1426848"/>
              <a:gd name="connsiteX1" fmla="*/ 0 w 2428815"/>
              <a:gd name="connsiteY1" fmla="*/ 1426848 h 1426848"/>
              <a:gd name="connsiteX2" fmla="*/ 0 w 2428815"/>
              <a:gd name="connsiteY2" fmla="*/ 1283606 h 1426848"/>
              <a:gd name="connsiteX3" fmla="*/ 1845489 w 2428815"/>
              <a:gd name="connsiteY3" fmla="*/ 0 h 1426848"/>
              <a:gd name="connsiteX4" fmla="*/ 2428815 w 2428815"/>
              <a:gd name="connsiteY4" fmla="*/ 399380 h 1426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8815" h="1426848">
                <a:moveTo>
                  <a:pt x="991465" y="1426848"/>
                </a:moveTo>
                <a:lnTo>
                  <a:pt x="0" y="1426848"/>
                </a:lnTo>
                <a:lnTo>
                  <a:pt x="0" y="1283606"/>
                </a:lnTo>
                <a:lnTo>
                  <a:pt x="1845489" y="0"/>
                </a:lnTo>
                <a:lnTo>
                  <a:pt x="2428815" y="39938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9000">
                <a:schemeClr val="accent2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7A5D467-3077-47DD-939A-561425A39FE1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2"/>
                </a:solidFill>
              </a:rPr>
              <a:pPr lvl="0"/>
              <a:t>‹#›</a:t>
            </a:fld>
            <a:endParaRPr lang="en-US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11580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8692B022-D178-44D0-B9B8-E05E2EC2B4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3627052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519455F8-E443-2E47-84AE-B5E3AB72DCED}"/>
              </a:ext>
            </a:extLst>
          </p:cNvPr>
          <p:cNvSpPr/>
          <p:nvPr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7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41CDB2D-7FA5-4BA7-AEA0-FE2551E49C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260570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3</a:t>
            </a:r>
            <a:endParaRPr lang="en-GB"/>
          </a:p>
        </p:txBody>
      </p:sp>
      <p:sp>
        <p:nvSpPr>
          <p:cNvPr id="23" name="Freeform 18">
            <a:extLst>
              <a:ext uri="{FF2B5EF4-FFF2-40B4-BE49-F238E27FC236}">
                <a16:creationId xmlns:a16="http://schemas.microsoft.com/office/drawing/2014/main" id="{6F10E259-8957-4A25-A1FE-6233728BBD6A}"/>
              </a:ext>
            </a:extLst>
          </p:cNvPr>
          <p:cNvSpPr/>
          <p:nvPr userDrawn="1"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6E0280A-C911-477A-9CA7-94686E8EAF5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09E407E-3FDA-43A1-8AFD-D4C5DBD5A7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5C50561-D087-47A2-8E0E-B095F51A359E}"/>
              </a:ext>
            </a:extLst>
          </p:cNvPr>
          <p:cNvSpPr/>
          <p:nvPr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3"/>
              </a:gs>
              <a:gs pos="92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927166BE-C525-4B89-9317-E7513C3FD974}"/>
              </a:ext>
            </a:extLst>
          </p:cNvPr>
          <p:cNvSpPr/>
          <p:nvPr userDrawn="1"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3"/>
              </a:gs>
              <a:gs pos="92000">
                <a:schemeClr val="accent1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5857FA2-03C8-4CE8-ABB9-5858207705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8134"/>
            <a:ext cx="935900" cy="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5204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C34AE55B-54F4-4171-BB75-625116036B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4" name="Freeform 23">
            <a:extLst>
              <a:ext uri="{FF2B5EF4-FFF2-40B4-BE49-F238E27FC236}">
                <a16:creationId xmlns:a16="http://schemas.microsoft.com/office/drawing/2014/main" id="{D80F8535-1B37-C640-9522-9FFE23DA8F4E}"/>
              </a:ext>
            </a:extLst>
          </p:cNvPr>
          <p:cNvSpPr/>
          <p:nvPr/>
        </p:nvSpPr>
        <p:spPr>
          <a:xfrm>
            <a:off x="-6225" y="4376941"/>
            <a:ext cx="6589331" cy="2481059"/>
          </a:xfrm>
          <a:custGeom>
            <a:avLst/>
            <a:gdLst>
              <a:gd name="connsiteX0" fmla="*/ 3012948 w 6589331"/>
              <a:gd name="connsiteY0" fmla="*/ 0 h 2481059"/>
              <a:gd name="connsiteX1" fmla="*/ 6589331 w 6589331"/>
              <a:gd name="connsiteY1" fmla="*/ 2471153 h 2481059"/>
              <a:gd name="connsiteX2" fmla="*/ 5715 w 6589331"/>
              <a:gd name="connsiteY2" fmla="*/ 2481059 h 2481059"/>
              <a:gd name="connsiteX3" fmla="*/ 0 w 6589331"/>
              <a:gd name="connsiteY3" fmla="*/ 2472071 h 2481059"/>
              <a:gd name="connsiteX4" fmla="*/ 0 w 6589331"/>
              <a:gd name="connsiteY4" fmla="*/ 2094159 h 2481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9331" h="2481059">
                <a:moveTo>
                  <a:pt x="3012948" y="0"/>
                </a:moveTo>
                <a:lnTo>
                  <a:pt x="6589331" y="2471153"/>
                </a:lnTo>
                <a:lnTo>
                  <a:pt x="5715" y="2481059"/>
                </a:lnTo>
                <a:lnTo>
                  <a:pt x="0" y="2472071"/>
                </a:lnTo>
                <a:lnTo>
                  <a:pt x="0" y="2094159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E0BA6F1B-DB4E-4726-82C8-F69E131B99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74257" y="2540943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95833C23-279C-584E-A024-2A31807A9274}"/>
              </a:ext>
            </a:extLst>
          </p:cNvPr>
          <p:cNvSpPr/>
          <p:nvPr/>
        </p:nvSpPr>
        <p:spPr>
          <a:xfrm flipH="1">
            <a:off x="4047304" y="5413691"/>
            <a:ext cx="4092877" cy="1449275"/>
          </a:xfrm>
          <a:custGeom>
            <a:avLst/>
            <a:gdLst>
              <a:gd name="connsiteX0" fmla="*/ 2044180 w 4092877"/>
              <a:gd name="connsiteY0" fmla="*/ 0 h 1449275"/>
              <a:gd name="connsiteX1" fmla="*/ 0 w 4092877"/>
              <a:gd name="connsiteY1" fmla="*/ 1449275 h 1449275"/>
              <a:gd name="connsiteX2" fmla="*/ 4092877 w 4092877"/>
              <a:gd name="connsiteY2" fmla="*/ 1449275 h 1449275"/>
              <a:gd name="connsiteX3" fmla="*/ 3674121 w 4092877"/>
              <a:gd name="connsiteY3" fmla="*/ 1155304 h 1449275"/>
              <a:gd name="connsiteX4" fmla="*/ 2044180 w 4092877"/>
              <a:gd name="connsiteY4" fmla="*/ 0 h 14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2877" h="1449275">
                <a:moveTo>
                  <a:pt x="2044180" y="0"/>
                </a:moveTo>
                <a:lnTo>
                  <a:pt x="0" y="1449275"/>
                </a:lnTo>
                <a:lnTo>
                  <a:pt x="4092877" y="1449275"/>
                </a:lnTo>
                <a:lnTo>
                  <a:pt x="3674121" y="1155304"/>
                </a:lnTo>
                <a:cubicBezTo>
                  <a:pt x="3130807" y="770202"/>
                  <a:pt x="2569124" y="363906"/>
                  <a:pt x="204418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35000"/>
                </a:schemeClr>
              </a:gs>
              <a:gs pos="50000">
                <a:schemeClr val="accent2"/>
              </a:gs>
              <a:gs pos="98000">
                <a:schemeClr val="accent2">
                  <a:alpha val="3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6F00C93-F8EE-4584-A029-7488D3966167}"/>
              </a:ext>
            </a:extLst>
          </p:cNvPr>
          <p:cNvSpPr/>
          <p:nvPr/>
        </p:nvSpPr>
        <p:spPr>
          <a:xfrm>
            <a:off x="-511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CECEFDB-7B1D-4D53-AFB2-2A3E81E50E9C}"/>
              </a:ext>
            </a:extLst>
          </p:cNvPr>
          <p:cNvSpPr/>
          <p:nvPr/>
        </p:nvSpPr>
        <p:spPr>
          <a:xfrm flipH="1">
            <a:off x="7929175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997A980-7EC0-453E-ABF1-4DC83EB7CB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1239876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4</a:t>
            </a:r>
            <a:endParaRPr lang="en-GB"/>
          </a:p>
        </p:txBody>
      </p:sp>
      <p:sp>
        <p:nvSpPr>
          <p:cNvPr id="20" name="Freeform 23">
            <a:extLst>
              <a:ext uri="{FF2B5EF4-FFF2-40B4-BE49-F238E27FC236}">
                <a16:creationId xmlns:a16="http://schemas.microsoft.com/office/drawing/2014/main" id="{4AACB9C7-803C-4152-82CB-67927F253134}"/>
              </a:ext>
            </a:extLst>
          </p:cNvPr>
          <p:cNvSpPr/>
          <p:nvPr userDrawn="1"/>
        </p:nvSpPr>
        <p:spPr>
          <a:xfrm>
            <a:off x="-6225" y="4376941"/>
            <a:ext cx="6589331" cy="2481059"/>
          </a:xfrm>
          <a:custGeom>
            <a:avLst/>
            <a:gdLst>
              <a:gd name="connsiteX0" fmla="*/ 3012948 w 6589331"/>
              <a:gd name="connsiteY0" fmla="*/ 0 h 2481059"/>
              <a:gd name="connsiteX1" fmla="*/ 6589331 w 6589331"/>
              <a:gd name="connsiteY1" fmla="*/ 2471153 h 2481059"/>
              <a:gd name="connsiteX2" fmla="*/ 5715 w 6589331"/>
              <a:gd name="connsiteY2" fmla="*/ 2481059 h 2481059"/>
              <a:gd name="connsiteX3" fmla="*/ 0 w 6589331"/>
              <a:gd name="connsiteY3" fmla="*/ 2472071 h 2481059"/>
              <a:gd name="connsiteX4" fmla="*/ 0 w 6589331"/>
              <a:gd name="connsiteY4" fmla="*/ 2094159 h 2481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9331" h="2481059">
                <a:moveTo>
                  <a:pt x="3012948" y="0"/>
                </a:moveTo>
                <a:lnTo>
                  <a:pt x="6589331" y="2471153"/>
                </a:lnTo>
                <a:lnTo>
                  <a:pt x="5715" y="2481059"/>
                </a:lnTo>
                <a:lnTo>
                  <a:pt x="0" y="2472071"/>
                </a:lnTo>
                <a:lnTo>
                  <a:pt x="0" y="2094159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38F6177-211A-49BE-ABB9-97949A54E26E}"/>
              </a:ext>
            </a:extLst>
          </p:cNvPr>
          <p:cNvSpPr/>
          <p:nvPr userDrawn="1"/>
        </p:nvSpPr>
        <p:spPr>
          <a:xfrm>
            <a:off x="-511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D7EF89F-2526-415C-BBDF-59E49A45CE8B}"/>
              </a:ext>
            </a:extLst>
          </p:cNvPr>
          <p:cNvSpPr/>
          <p:nvPr userDrawn="1"/>
        </p:nvSpPr>
        <p:spPr>
          <a:xfrm flipH="1">
            <a:off x="7929175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480B66D4-A5F5-624A-B6B3-939B1AD7D213}"/>
              </a:ext>
            </a:extLst>
          </p:cNvPr>
          <p:cNvSpPr/>
          <p:nvPr userDrawn="1"/>
        </p:nvSpPr>
        <p:spPr>
          <a:xfrm flipH="1">
            <a:off x="5606920" y="4371977"/>
            <a:ext cx="6580566" cy="2490989"/>
          </a:xfrm>
          <a:custGeom>
            <a:avLst/>
            <a:gdLst>
              <a:gd name="connsiteX0" fmla="*/ 3009863 w 6580566"/>
              <a:gd name="connsiteY0" fmla="*/ 0 h 2490989"/>
              <a:gd name="connsiteX1" fmla="*/ 0 w 6580566"/>
              <a:gd name="connsiteY1" fmla="*/ 2099561 h 2490989"/>
              <a:gd name="connsiteX2" fmla="*/ 0 w 6580566"/>
              <a:gd name="connsiteY2" fmla="*/ 2490989 h 2490989"/>
              <a:gd name="connsiteX3" fmla="*/ 5268197 w 6580566"/>
              <a:gd name="connsiteY3" fmla="*/ 2490989 h 2490989"/>
              <a:gd name="connsiteX4" fmla="*/ 6580566 w 6580566"/>
              <a:gd name="connsiteY4" fmla="*/ 2476120 h 2490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566" h="2490989">
                <a:moveTo>
                  <a:pt x="3009863" y="0"/>
                </a:moveTo>
                <a:lnTo>
                  <a:pt x="0" y="2099561"/>
                </a:lnTo>
                <a:lnTo>
                  <a:pt x="0" y="2490989"/>
                </a:lnTo>
                <a:lnTo>
                  <a:pt x="5268197" y="2490989"/>
                </a:lnTo>
                <a:lnTo>
                  <a:pt x="6580566" y="2476120"/>
                </a:lnTo>
                <a:close/>
              </a:path>
            </a:pathLst>
          </a:custGeom>
          <a:gradFill>
            <a:gsLst>
              <a:gs pos="28000">
                <a:schemeClr val="accent1">
                  <a:alpha val="0"/>
                </a:schemeClr>
              </a:gs>
              <a:gs pos="92000">
                <a:schemeClr val="accent1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 21">
            <a:extLst>
              <a:ext uri="{FF2B5EF4-FFF2-40B4-BE49-F238E27FC236}">
                <a16:creationId xmlns:a16="http://schemas.microsoft.com/office/drawing/2014/main" id="{2168F68C-9AED-427E-85F9-E8C1393F181B}"/>
              </a:ext>
            </a:extLst>
          </p:cNvPr>
          <p:cNvSpPr/>
          <p:nvPr userDrawn="1"/>
        </p:nvSpPr>
        <p:spPr>
          <a:xfrm flipH="1">
            <a:off x="5606920" y="4371977"/>
            <a:ext cx="6580566" cy="2490989"/>
          </a:xfrm>
          <a:custGeom>
            <a:avLst/>
            <a:gdLst>
              <a:gd name="connsiteX0" fmla="*/ 3009863 w 6580566"/>
              <a:gd name="connsiteY0" fmla="*/ 0 h 2490989"/>
              <a:gd name="connsiteX1" fmla="*/ 0 w 6580566"/>
              <a:gd name="connsiteY1" fmla="*/ 2099561 h 2490989"/>
              <a:gd name="connsiteX2" fmla="*/ 0 w 6580566"/>
              <a:gd name="connsiteY2" fmla="*/ 2490989 h 2490989"/>
              <a:gd name="connsiteX3" fmla="*/ 5268197 w 6580566"/>
              <a:gd name="connsiteY3" fmla="*/ 2490989 h 2490989"/>
              <a:gd name="connsiteX4" fmla="*/ 6580566 w 6580566"/>
              <a:gd name="connsiteY4" fmla="*/ 2476120 h 2490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566" h="2490989">
                <a:moveTo>
                  <a:pt x="3009863" y="0"/>
                </a:moveTo>
                <a:lnTo>
                  <a:pt x="0" y="2099561"/>
                </a:lnTo>
                <a:lnTo>
                  <a:pt x="0" y="2490989"/>
                </a:lnTo>
                <a:lnTo>
                  <a:pt x="5268197" y="2490989"/>
                </a:lnTo>
                <a:lnTo>
                  <a:pt x="6580566" y="2476120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3" name="Freeform 16">
            <a:extLst>
              <a:ext uri="{FF2B5EF4-FFF2-40B4-BE49-F238E27FC236}">
                <a16:creationId xmlns:a16="http://schemas.microsoft.com/office/drawing/2014/main" id="{B65377BA-7EEE-4F72-8CAE-57BDF7345B46}"/>
              </a:ext>
            </a:extLst>
          </p:cNvPr>
          <p:cNvSpPr/>
          <p:nvPr userDrawn="1"/>
        </p:nvSpPr>
        <p:spPr>
          <a:xfrm flipH="1">
            <a:off x="4047304" y="5413691"/>
            <a:ext cx="4092877" cy="1449275"/>
          </a:xfrm>
          <a:custGeom>
            <a:avLst/>
            <a:gdLst>
              <a:gd name="connsiteX0" fmla="*/ 2044180 w 4092877"/>
              <a:gd name="connsiteY0" fmla="*/ 0 h 1449275"/>
              <a:gd name="connsiteX1" fmla="*/ 0 w 4092877"/>
              <a:gd name="connsiteY1" fmla="*/ 1449275 h 1449275"/>
              <a:gd name="connsiteX2" fmla="*/ 4092877 w 4092877"/>
              <a:gd name="connsiteY2" fmla="*/ 1449275 h 1449275"/>
              <a:gd name="connsiteX3" fmla="*/ 3674121 w 4092877"/>
              <a:gd name="connsiteY3" fmla="*/ 1155304 h 1449275"/>
              <a:gd name="connsiteX4" fmla="*/ 2044180 w 4092877"/>
              <a:gd name="connsiteY4" fmla="*/ 0 h 14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2877" h="1449275">
                <a:moveTo>
                  <a:pt x="2044180" y="0"/>
                </a:moveTo>
                <a:lnTo>
                  <a:pt x="0" y="1449275"/>
                </a:lnTo>
                <a:lnTo>
                  <a:pt x="4092877" y="1449275"/>
                </a:lnTo>
                <a:lnTo>
                  <a:pt x="3674121" y="1155304"/>
                </a:lnTo>
                <a:cubicBezTo>
                  <a:pt x="3130807" y="770202"/>
                  <a:pt x="2569124" y="363906"/>
                  <a:pt x="204418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35000"/>
                </a:schemeClr>
              </a:gs>
              <a:gs pos="50000">
                <a:schemeClr val="accent2"/>
              </a:gs>
              <a:gs pos="98000">
                <a:schemeClr val="accent2">
                  <a:alpha val="3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A764AC80-FAC7-4BD1-B73A-91406AC014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8134"/>
            <a:ext cx="935900" cy="2700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A45E612-A8E3-4C77-9438-EC1BFADA331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079725B-1CBE-4221-997B-07640A54E0D0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2"/>
                </a:solidFill>
              </a:rPr>
              <a:pPr lvl="0"/>
              <a:t>‹#›</a:t>
            </a:fld>
            <a:endParaRPr lang="en-US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2089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5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A6CD9C7-E2A9-434A-9A8E-298812C6A1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5" name="Freeform 24">
            <a:extLst>
              <a:ext uri="{FF2B5EF4-FFF2-40B4-BE49-F238E27FC236}">
                <a16:creationId xmlns:a16="http://schemas.microsoft.com/office/drawing/2014/main" id="{5B049D90-7C0C-2543-A4A6-22DE2C411CA6}"/>
              </a:ext>
            </a:extLst>
          </p:cNvPr>
          <p:cNvSpPr/>
          <p:nvPr/>
        </p:nvSpPr>
        <p:spPr>
          <a:xfrm>
            <a:off x="0" y="4900507"/>
            <a:ext cx="4262572" cy="1957493"/>
          </a:xfrm>
          <a:custGeom>
            <a:avLst/>
            <a:gdLst>
              <a:gd name="connsiteX0" fmla="*/ 1462275 w 4262572"/>
              <a:gd name="connsiteY0" fmla="*/ 0 h 1957493"/>
              <a:gd name="connsiteX1" fmla="*/ 4262572 w 4262572"/>
              <a:gd name="connsiteY1" fmla="*/ 1957493 h 1957493"/>
              <a:gd name="connsiteX2" fmla="*/ 0 w 4262572"/>
              <a:gd name="connsiteY2" fmla="*/ 1957493 h 1957493"/>
              <a:gd name="connsiteX3" fmla="*/ 0 w 4262572"/>
              <a:gd name="connsiteY3" fmla="*/ 1021999 h 1957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62572" h="1957493">
                <a:moveTo>
                  <a:pt x="1462275" y="0"/>
                </a:moveTo>
                <a:lnTo>
                  <a:pt x="4262572" y="1957493"/>
                </a:lnTo>
                <a:lnTo>
                  <a:pt x="0" y="1957493"/>
                </a:lnTo>
                <a:lnTo>
                  <a:pt x="0" y="1021999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31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929773AE-3026-4994-9E24-119377549C30}"/>
              </a:ext>
            </a:extLst>
          </p:cNvPr>
          <p:cNvSpPr/>
          <p:nvPr/>
        </p:nvSpPr>
        <p:spPr>
          <a:xfrm>
            <a:off x="1739901" y="5448182"/>
            <a:ext cx="4065894" cy="1412994"/>
          </a:xfrm>
          <a:custGeom>
            <a:avLst/>
            <a:gdLst>
              <a:gd name="connsiteX0" fmla="*/ 0 w 4467225"/>
              <a:gd name="connsiteY0" fmla="*/ 1533525 h 1562100"/>
              <a:gd name="connsiteX1" fmla="*/ 2228850 w 4467225"/>
              <a:gd name="connsiteY1" fmla="*/ 0 h 1562100"/>
              <a:gd name="connsiteX2" fmla="*/ 4467225 w 4467225"/>
              <a:gd name="connsiteY2" fmla="*/ 1562100 h 1562100"/>
              <a:gd name="connsiteX3" fmla="*/ 0 w 4467225"/>
              <a:gd name="connsiteY3" fmla="*/ 1533525 h 1562100"/>
              <a:gd name="connsiteX0" fmla="*/ 0 w 4505325"/>
              <a:gd name="connsiteY0" fmla="*/ 1552575 h 1562100"/>
              <a:gd name="connsiteX1" fmla="*/ 2266950 w 4505325"/>
              <a:gd name="connsiteY1" fmla="*/ 0 h 1562100"/>
              <a:gd name="connsiteX2" fmla="*/ 4505325 w 4505325"/>
              <a:gd name="connsiteY2" fmla="*/ 1562100 h 1562100"/>
              <a:gd name="connsiteX3" fmla="*/ 0 w 4505325"/>
              <a:gd name="connsiteY3" fmla="*/ 1552575 h 1562100"/>
              <a:gd name="connsiteX0" fmla="*/ 0 w 4514850"/>
              <a:gd name="connsiteY0" fmla="*/ 1562100 h 1562100"/>
              <a:gd name="connsiteX1" fmla="*/ 2276475 w 4514850"/>
              <a:gd name="connsiteY1" fmla="*/ 0 h 1562100"/>
              <a:gd name="connsiteX2" fmla="*/ 4514850 w 4514850"/>
              <a:gd name="connsiteY2" fmla="*/ 1562100 h 1562100"/>
              <a:gd name="connsiteX3" fmla="*/ 0 w 4514850"/>
              <a:gd name="connsiteY3" fmla="*/ 1562100 h 1562100"/>
              <a:gd name="connsiteX0" fmla="*/ 0 w 4514850"/>
              <a:gd name="connsiteY0" fmla="*/ 1410144 h 1410144"/>
              <a:gd name="connsiteX1" fmla="*/ 2265873 w 4514850"/>
              <a:gd name="connsiteY1" fmla="*/ 0 h 1410144"/>
              <a:gd name="connsiteX2" fmla="*/ 4514850 w 4514850"/>
              <a:gd name="connsiteY2" fmla="*/ 1410144 h 1410144"/>
              <a:gd name="connsiteX3" fmla="*/ 0 w 4514850"/>
              <a:gd name="connsiteY3" fmla="*/ 1410144 h 1410144"/>
              <a:gd name="connsiteX0" fmla="*/ 0 w 4514850"/>
              <a:gd name="connsiteY0" fmla="*/ 1569168 h 1569168"/>
              <a:gd name="connsiteX1" fmla="*/ 2265873 w 4514850"/>
              <a:gd name="connsiteY1" fmla="*/ 0 h 1569168"/>
              <a:gd name="connsiteX2" fmla="*/ 4514850 w 4514850"/>
              <a:gd name="connsiteY2" fmla="*/ 1569168 h 1569168"/>
              <a:gd name="connsiteX3" fmla="*/ 0 w 4514850"/>
              <a:gd name="connsiteY3" fmla="*/ 1569168 h 1569168"/>
              <a:gd name="connsiteX0" fmla="*/ 0 w 4525452"/>
              <a:gd name="connsiteY0" fmla="*/ 1569168 h 1572702"/>
              <a:gd name="connsiteX1" fmla="*/ 2265873 w 4525452"/>
              <a:gd name="connsiteY1" fmla="*/ 0 h 1572702"/>
              <a:gd name="connsiteX2" fmla="*/ 4525452 w 4525452"/>
              <a:gd name="connsiteY2" fmla="*/ 1572702 h 1572702"/>
              <a:gd name="connsiteX3" fmla="*/ 0 w 4525452"/>
              <a:gd name="connsiteY3" fmla="*/ 1569168 h 1572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25452" h="1572702">
                <a:moveTo>
                  <a:pt x="0" y="1569168"/>
                </a:moveTo>
                <a:lnTo>
                  <a:pt x="2265873" y="0"/>
                </a:lnTo>
                <a:lnTo>
                  <a:pt x="4525452" y="1572702"/>
                </a:lnTo>
                <a:lnTo>
                  <a:pt x="0" y="1569168"/>
                </a:lnTo>
                <a:close/>
              </a:path>
            </a:pathLst>
          </a:custGeom>
          <a:gradFill flip="none" rotWithShape="1">
            <a:gsLst>
              <a:gs pos="79000">
                <a:schemeClr val="accent1"/>
              </a:gs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21594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1998EB54-0F58-441A-8144-1161535363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4257" y="3702319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BE0095B5-53D4-9C4C-8876-BE836797DEE0}"/>
              </a:ext>
            </a:extLst>
          </p:cNvPr>
          <p:cNvSpPr/>
          <p:nvPr/>
        </p:nvSpPr>
        <p:spPr>
          <a:xfrm rot="10800000">
            <a:off x="9083364" y="0"/>
            <a:ext cx="3108635" cy="1425182"/>
          </a:xfrm>
          <a:custGeom>
            <a:avLst/>
            <a:gdLst>
              <a:gd name="connsiteX0" fmla="*/ 3108635 w 3108635"/>
              <a:gd name="connsiteY0" fmla="*/ 1425182 h 1425182"/>
              <a:gd name="connsiteX1" fmla="*/ 0 w 3108635"/>
              <a:gd name="connsiteY1" fmla="*/ 1425182 h 1425182"/>
              <a:gd name="connsiteX2" fmla="*/ 0 w 3108635"/>
              <a:gd name="connsiteY2" fmla="*/ 730957 h 1425182"/>
              <a:gd name="connsiteX3" fmla="*/ 1084862 w 3108635"/>
              <a:gd name="connsiteY3" fmla="*/ 0 h 142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08635" h="1425182">
                <a:moveTo>
                  <a:pt x="3108635" y="1425182"/>
                </a:moveTo>
                <a:lnTo>
                  <a:pt x="0" y="1425182"/>
                </a:lnTo>
                <a:lnTo>
                  <a:pt x="0" y="730957"/>
                </a:lnTo>
                <a:lnTo>
                  <a:pt x="1084862" y="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31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B5DEA3EB-7023-3642-83F2-FD716952AC57}"/>
              </a:ext>
            </a:extLst>
          </p:cNvPr>
          <p:cNvSpPr/>
          <p:nvPr/>
        </p:nvSpPr>
        <p:spPr>
          <a:xfrm rot="10800000">
            <a:off x="7899082" y="-1"/>
            <a:ext cx="2943008" cy="1021432"/>
          </a:xfrm>
          <a:custGeom>
            <a:avLst/>
            <a:gdLst>
              <a:gd name="connsiteX0" fmla="*/ 2943008 w 2943008"/>
              <a:gd name="connsiteY0" fmla="*/ 1021432 h 1021432"/>
              <a:gd name="connsiteX1" fmla="*/ 0 w 2943008"/>
              <a:gd name="connsiteY1" fmla="*/ 1021432 h 1021432"/>
              <a:gd name="connsiteX2" fmla="*/ 1473230 w 2943008"/>
              <a:gd name="connsiteY2" fmla="*/ 0 h 102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43008" h="1021432">
                <a:moveTo>
                  <a:pt x="2943008" y="1021432"/>
                </a:moveTo>
                <a:lnTo>
                  <a:pt x="0" y="1021432"/>
                </a:lnTo>
                <a:lnTo>
                  <a:pt x="1473230" y="0"/>
                </a:lnTo>
                <a:close/>
              </a:path>
            </a:pathLst>
          </a:custGeom>
          <a:gradFill flip="none" rotWithShape="1">
            <a:gsLst>
              <a:gs pos="79000">
                <a:schemeClr val="accent1"/>
              </a:gs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21594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>
              <a:solidFill>
                <a:schemeClr val="tx2"/>
              </a:solidFill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26A78AB9-EAF7-7746-895A-843233C622E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612FCD5A-D75B-4B19-A0CD-3722DB639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401252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5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58EE7C1-72A7-49D2-9408-6D8A3E8979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E8E6F93-A670-4F14-B015-78190A57D001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2"/>
                </a:solidFill>
              </a:rPr>
              <a:pPr lvl="0"/>
              <a:t>‹#›</a:t>
            </a:fld>
            <a:endParaRPr lang="en-US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39310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6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90A8770-33B0-4F90-A388-5B3728ACB9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0CC2C6EF-776C-43CF-B77C-3AD42BC255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4143" y="3702319"/>
            <a:ext cx="6843600" cy="381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Description goes her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noProof="0"/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507FF555-C362-BC4D-A8EA-21A034747FD9}"/>
              </a:ext>
            </a:extLst>
          </p:cNvPr>
          <p:cNvSpPr/>
          <p:nvPr/>
        </p:nvSpPr>
        <p:spPr>
          <a:xfrm rot="18300963" flipH="1">
            <a:off x="8503132" y="-1165064"/>
            <a:ext cx="495116" cy="4554815"/>
          </a:xfrm>
          <a:custGeom>
            <a:avLst/>
            <a:gdLst>
              <a:gd name="connsiteX0" fmla="*/ 484981 w 495116"/>
              <a:gd name="connsiteY0" fmla="*/ 0 h 4554815"/>
              <a:gd name="connsiteX1" fmla="*/ 43362 w 495116"/>
              <a:gd name="connsiteY1" fmla="*/ 630320 h 4554815"/>
              <a:gd name="connsiteX2" fmla="*/ 0 w 495116"/>
              <a:gd name="connsiteY2" fmla="*/ 4554815 h 4554815"/>
              <a:gd name="connsiteX3" fmla="*/ 484123 w 495116"/>
              <a:gd name="connsiteY3" fmla="*/ 4385194 h 4554815"/>
              <a:gd name="connsiteX4" fmla="*/ 495116 w 495116"/>
              <a:gd name="connsiteY4" fmla="*/ 3771414 h 4554815"/>
              <a:gd name="connsiteX5" fmla="*/ 466021 w 495116"/>
              <a:gd name="connsiteY5" fmla="*/ 3782827 h 4554815"/>
              <a:gd name="connsiteX6" fmla="*/ 482994 w 495116"/>
              <a:gd name="connsiteY6" fmla="*/ 370448 h 4554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5116" h="4554815">
                <a:moveTo>
                  <a:pt x="484981" y="0"/>
                </a:moveTo>
                <a:lnTo>
                  <a:pt x="43362" y="630320"/>
                </a:lnTo>
                <a:lnTo>
                  <a:pt x="0" y="4554815"/>
                </a:lnTo>
                <a:lnTo>
                  <a:pt x="484123" y="4385194"/>
                </a:lnTo>
                <a:lnTo>
                  <a:pt x="495116" y="3771414"/>
                </a:lnTo>
                <a:lnTo>
                  <a:pt x="466021" y="3782827"/>
                </a:lnTo>
                <a:cubicBezTo>
                  <a:pt x="466280" y="2865719"/>
                  <a:pt x="476637" y="1476643"/>
                  <a:pt x="482994" y="370448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BA5EF075-83E7-774F-B885-37C07770ABA8}"/>
              </a:ext>
            </a:extLst>
          </p:cNvPr>
          <p:cNvSpPr/>
          <p:nvPr/>
        </p:nvSpPr>
        <p:spPr>
          <a:xfrm rot="18300963" flipH="1">
            <a:off x="4607641" y="3724836"/>
            <a:ext cx="1098431" cy="4553250"/>
          </a:xfrm>
          <a:custGeom>
            <a:avLst/>
            <a:gdLst>
              <a:gd name="connsiteX0" fmla="*/ 7678 w 1098431"/>
              <a:gd name="connsiteY0" fmla="*/ 354047 h 4553250"/>
              <a:gd name="connsiteX1" fmla="*/ 0 w 1098431"/>
              <a:gd name="connsiteY1" fmla="*/ 4553250 h 4553250"/>
              <a:gd name="connsiteX2" fmla="*/ 1098431 w 1098431"/>
              <a:gd name="connsiteY2" fmla="*/ 2985463 h 4553250"/>
              <a:gd name="connsiteX3" fmla="*/ 1098431 w 1098431"/>
              <a:gd name="connsiteY3" fmla="*/ 0 h 4553250"/>
              <a:gd name="connsiteX4" fmla="*/ 7678 w 1098431"/>
              <a:gd name="connsiteY4" fmla="*/ 354047 h 455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8431" h="4553250">
                <a:moveTo>
                  <a:pt x="7678" y="354047"/>
                </a:moveTo>
                <a:lnTo>
                  <a:pt x="0" y="4553250"/>
                </a:lnTo>
                <a:lnTo>
                  <a:pt x="1098431" y="2985463"/>
                </a:lnTo>
                <a:lnTo>
                  <a:pt x="1098431" y="0"/>
                </a:lnTo>
                <a:cubicBezTo>
                  <a:pt x="734631" y="127326"/>
                  <a:pt x="371478" y="226721"/>
                  <a:pt x="7678" y="35404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0FDB5CF5-44C1-1D4A-A2B9-37C0F30F6278}"/>
              </a:ext>
            </a:extLst>
          </p:cNvPr>
          <p:cNvSpPr/>
          <p:nvPr/>
        </p:nvSpPr>
        <p:spPr>
          <a:xfrm rot="18300963" flipH="1">
            <a:off x="4473394" y="5471677"/>
            <a:ext cx="227425" cy="1880095"/>
          </a:xfrm>
          <a:custGeom>
            <a:avLst/>
            <a:gdLst>
              <a:gd name="connsiteX0" fmla="*/ 0 w 227425"/>
              <a:gd name="connsiteY0" fmla="*/ 96845 h 1880095"/>
              <a:gd name="connsiteX1" fmla="*/ 0 w 227425"/>
              <a:gd name="connsiteY1" fmla="*/ 1880095 h 1880095"/>
              <a:gd name="connsiteX2" fmla="*/ 224453 w 227425"/>
              <a:gd name="connsiteY2" fmla="*/ 1559734 h 1880095"/>
              <a:gd name="connsiteX3" fmla="*/ 225257 w 227425"/>
              <a:gd name="connsiteY3" fmla="*/ 1214869 h 1880095"/>
              <a:gd name="connsiteX4" fmla="*/ 227425 w 227425"/>
              <a:gd name="connsiteY4" fmla="*/ 0 h 1880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425" h="1880095">
                <a:moveTo>
                  <a:pt x="0" y="96845"/>
                </a:moveTo>
                <a:lnTo>
                  <a:pt x="0" y="1880095"/>
                </a:lnTo>
                <a:lnTo>
                  <a:pt x="224453" y="1559734"/>
                </a:lnTo>
                <a:lnTo>
                  <a:pt x="225257" y="1214869"/>
                </a:lnTo>
                <a:cubicBezTo>
                  <a:pt x="225980" y="809913"/>
                  <a:pt x="226237" y="390570"/>
                  <a:pt x="227425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7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35" name="Freeform 34">
            <a:extLst>
              <a:ext uri="{FF2B5EF4-FFF2-40B4-BE49-F238E27FC236}">
                <a16:creationId xmlns:a16="http://schemas.microsoft.com/office/drawing/2014/main" id="{4D8B62A9-4796-7441-BB51-FE9050BD3210}"/>
              </a:ext>
            </a:extLst>
          </p:cNvPr>
          <p:cNvSpPr/>
          <p:nvPr/>
        </p:nvSpPr>
        <p:spPr>
          <a:xfrm rot="18300963" flipH="1">
            <a:off x="6797834" y="-1592612"/>
            <a:ext cx="1110167" cy="5340305"/>
          </a:xfrm>
          <a:custGeom>
            <a:avLst/>
            <a:gdLst>
              <a:gd name="connsiteX0" fmla="*/ 1110167 w 1110167"/>
              <a:gd name="connsiteY0" fmla="*/ 0 h 5340305"/>
              <a:gd name="connsiteX1" fmla="*/ 18977 w 1110167"/>
              <a:gd name="connsiteY1" fmla="*/ 1557452 h 5340305"/>
              <a:gd name="connsiteX2" fmla="*/ 18186 w 1110167"/>
              <a:gd name="connsiteY2" fmla="*/ 1710683 h 5340305"/>
              <a:gd name="connsiteX3" fmla="*/ 0 w 1110167"/>
              <a:gd name="connsiteY3" fmla="*/ 5340305 h 5340305"/>
              <a:gd name="connsiteX4" fmla="*/ 1096070 w 1110167"/>
              <a:gd name="connsiteY4" fmla="*/ 4910334 h 5340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0167" h="5340305">
                <a:moveTo>
                  <a:pt x="1110167" y="0"/>
                </a:moveTo>
                <a:lnTo>
                  <a:pt x="18977" y="1557452"/>
                </a:lnTo>
                <a:lnTo>
                  <a:pt x="18186" y="1710683"/>
                </a:lnTo>
                <a:cubicBezTo>
                  <a:pt x="12041" y="2846813"/>
                  <a:pt x="276" y="4362057"/>
                  <a:pt x="0" y="5340305"/>
                </a:cubicBezTo>
                <a:lnTo>
                  <a:pt x="1096070" y="4910334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E2CC5BE5-129B-7847-BDB4-75DA3D4EA79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970D0B5-60C7-43B7-9391-F41A7E9C2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401252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>
              <a:defRPr lang="en-GB" sz="4000" dirty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 noProof="0"/>
              <a:t>Slide divider option-6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6AB6562-E57C-4D04-BCF6-D759D38486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19577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D11DE4A4-8A73-47DE-998E-AEEEE66D8A3D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F225A138-8D03-4E68-8998-611A6F18F6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Footer Placeholder 3">
            <a:extLst>
              <a:ext uri="{FF2B5EF4-FFF2-40B4-BE49-F238E27FC236}">
                <a16:creationId xmlns:a16="http://schemas.microsoft.com/office/drawing/2014/main" id="{DBB6325D-B9C6-4FE6-85DB-5848971DF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76EB3F0-47D8-4109-9506-E465830BA77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41515230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Slid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1435E1C6-30B7-4241-944C-C81382685F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B91F8A20-C584-48B2-B8D0-5A7792E52E41}"/>
              </a:ext>
            </a:extLst>
          </p:cNvPr>
          <p:cNvSpPr/>
          <p:nvPr userDrawn="1"/>
        </p:nvSpPr>
        <p:spPr>
          <a:xfrm flipV="1">
            <a:off x="6766830" y="1"/>
            <a:ext cx="5425171" cy="3771437"/>
          </a:xfrm>
          <a:custGeom>
            <a:avLst/>
            <a:gdLst>
              <a:gd name="connsiteX0" fmla="*/ 0 w 5425171"/>
              <a:gd name="connsiteY0" fmla="*/ 3771437 h 3771437"/>
              <a:gd name="connsiteX1" fmla="*/ 5425171 w 5425171"/>
              <a:gd name="connsiteY1" fmla="*/ 3771437 h 3771437"/>
              <a:gd name="connsiteX2" fmla="*/ 5425171 w 5425171"/>
              <a:gd name="connsiteY2" fmla="*/ 0 h 3771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25171" h="3771437">
                <a:moveTo>
                  <a:pt x="0" y="3771437"/>
                </a:moveTo>
                <a:lnTo>
                  <a:pt x="5425171" y="3771437"/>
                </a:lnTo>
                <a:lnTo>
                  <a:pt x="5425171" y="0"/>
                </a:lnTo>
                <a:close/>
              </a:path>
            </a:pathLst>
          </a:custGeom>
          <a:solidFill>
            <a:schemeClr val="accent1"/>
          </a:solidFill>
          <a:ln w="15691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GB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EBC369F7-26ED-4748-B416-400F4315F894}"/>
              </a:ext>
            </a:extLst>
          </p:cNvPr>
          <p:cNvSpPr/>
          <p:nvPr userDrawn="1"/>
        </p:nvSpPr>
        <p:spPr>
          <a:xfrm rot="18300963" flipH="1">
            <a:off x="7568200" y="-802590"/>
            <a:ext cx="418585" cy="2961934"/>
          </a:xfrm>
          <a:custGeom>
            <a:avLst/>
            <a:gdLst>
              <a:gd name="connsiteX0" fmla="*/ 418585 w 418585"/>
              <a:gd name="connsiteY0" fmla="*/ 0 h 2961934"/>
              <a:gd name="connsiteX1" fmla="*/ 0 w 418585"/>
              <a:gd name="connsiteY1" fmla="*/ 597446 h 2961934"/>
              <a:gd name="connsiteX2" fmla="*/ 0 w 418585"/>
              <a:gd name="connsiteY2" fmla="*/ 2961934 h 2961934"/>
              <a:gd name="connsiteX3" fmla="*/ 418585 w 418585"/>
              <a:gd name="connsiteY3" fmla="*/ 2808101 h 296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585" h="2961934">
                <a:moveTo>
                  <a:pt x="418585" y="0"/>
                </a:moveTo>
                <a:lnTo>
                  <a:pt x="0" y="597446"/>
                </a:lnTo>
                <a:lnTo>
                  <a:pt x="0" y="2961934"/>
                </a:lnTo>
                <a:lnTo>
                  <a:pt x="418585" y="2808101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5868000" cy="2769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tabLst>
                <a:tab pos="447675" algn="l"/>
              </a:tabLst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473F4034-F802-8147-9CE9-2FDF5990DA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68000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6A190A09-38DF-44F3-867C-A471B79F10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51261" y="2832692"/>
            <a:ext cx="7140739" cy="4025309"/>
          </a:xfrm>
          <a:custGeom>
            <a:avLst/>
            <a:gdLst>
              <a:gd name="connsiteX0" fmla="*/ 5790363 w 7140739"/>
              <a:gd name="connsiteY0" fmla="*/ 0 h 4025309"/>
              <a:gd name="connsiteX1" fmla="*/ 7140739 w 7140739"/>
              <a:gd name="connsiteY1" fmla="*/ 938746 h 4025309"/>
              <a:gd name="connsiteX2" fmla="*/ 7140739 w 7140739"/>
              <a:gd name="connsiteY2" fmla="*/ 4025309 h 4025309"/>
              <a:gd name="connsiteX3" fmla="*/ 0 w 7140739"/>
              <a:gd name="connsiteY3" fmla="*/ 4025309 h 4025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40739" h="4025309">
                <a:moveTo>
                  <a:pt x="5790363" y="0"/>
                </a:moveTo>
                <a:lnTo>
                  <a:pt x="7140739" y="938746"/>
                </a:lnTo>
                <a:lnTo>
                  <a:pt x="7140739" y="4025309"/>
                </a:lnTo>
                <a:lnTo>
                  <a:pt x="0" y="402530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Freeform 17">
            <a:extLst>
              <a:ext uri="{FF2B5EF4-FFF2-40B4-BE49-F238E27FC236}">
                <a16:creationId xmlns:a16="http://schemas.microsoft.com/office/drawing/2014/main" id="{B6240B64-00A8-4FE7-AA5A-4A2F8B98F2A4}"/>
              </a:ext>
            </a:extLst>
          </p:cNvPr>
          <p:cNvSpPr/>
          <p:nvPr userDrawn="1"/>
        </p:nvSpPr>
        <p:spPr>
          <a:xfrm rot="3299037" flipH="1" flipV="1">
            <a:off x="5974493" y="4464643"/>
            <a:ext cx="316395" cy="3206138"/>
          </a:xfrm>
          <a:custGeom>
            <a:avLst/>
            <a:gdLst>
              <a:gd name="connsiteX0" fmla="*/ 316395 w 316395"/>
              <a:gd name="connsiteY0" fmla="*/ 3162580 h 3206138"/>
              <a:gd name="connsiteX1" fmla="*/ 0 w 316395"/>
              <a:gd name="connsiteY1" fmla="*/ 3206138 h 3206138"/>
              <a:gd name="connsiteX2" fmla="*/ 0 w 316395"/>
              <a:gd name="connsiteY2" fmla="*/ 451589 h 3206138"/>
              <a:gd name="connsiteX3" fmla="*/ 316395 w 316395"/>
              <a:gd name="connsiteY3" fmla="*/ 0 h 320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395" h="3206138">
                <a:moveTo>
                  <a:pt x="316395" y="3162580"/>
                </a:moveTo>
                <a:lnTo>
                  <a:pt x="0" y="3206138"/>
                </a:lnTo>
                <a:lnTo>
                  <a:pt x="0" y="451589"/>
                </a:lnTo>
                <a:lnTo>
                  <a:pt x="31639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EC4703DF-3E8F-47BA-BB4F-7408A471CBF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A6FAD8E-BF2F-4E8F-8FBC-5DBC65D769D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58F2F8-A64B-47AC-BB12-214DCFC4FE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000" y="388800"/>
            <a:ext cx="5868000" cy="990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04C4781-1C6F-4AD7-ABBE-AF369B7688D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44000" y="2250000"/>
            <a:ext cx="5868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71042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/ Sub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EF740B43-BCE3-48B4-A408-DEABA1AA5B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650234-DD57-4C81-AB23-92FD51EEBD7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42799" y="2249826"/>
            <a:ext cx="11303999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1267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Sub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503197B-A40F-451E-B6DA-084A5A1A2B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98921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40C6F6E-D956-4630-B168-B51632E277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650234-DD57-4C81-AB23-92FD51EEBD7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42799" y="1773238"/>
            <a:ext cx="11303999" cy="43645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5006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404D3DD-A8C5-4AF4-A4E4-A188F633D1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0230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945F975-90D8-4FC9-9785-ADBE8EB862F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84910E85-A840-A34D-ACA6-7D1ECD49672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B0EA591-0F76-4C5D-A80F-BE3FFDBDE3C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33661B-FDB1-4FD2-AA10-7509875192F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56BE9C3-9D24-4D01-BA4D-BF75A9D51FE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C100CA-D516-42FC-BC3F-FAC2BD900CA3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5F455DBC-1E38-439B-BEB5-04B5EAD319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D630176-F6B5-47F2-8078-132CA09BA102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35BF33-BB6E-45E7-8DA2-B771B41B93E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42799" y="2249826"/>
            <a:ext cx="5399999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99B19804-BB2B-4735-8B2C-A604FF50836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346799" y="2249826"/>
            <a:ext cx="5399999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14328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704">
          <p15:clr>
            <a:srgbClr val="FBAE40"/>
          </p15:clr>
        </p15:guide>
        <p15:guide id="3" pos="3976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E5423F6E-0382-4DF4-9C5E-E470F9F31A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16AAC404-50AD-49DC-8CC0-C9AFE4997C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89C17C-E3C9-4300-878F-674F3FE9EA4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01528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1B7B52BA-04B5-47EB-9317-AC1C3DE483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4581D52-5A11-4CEF-A19A-C47F763A7B43}"/>
              </a:ext>
            </a:extLst>
          </p:cNvPr>
          <p:cNvSpPr/>
          <p:nvPr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1"/>
              </a:gs>
              <a:gs pos="98000">
                <a:srgbClr val="073262"/>
              </a:gs>
              <a:gs pos="33000">
                <a:schemeClr val="accent2"/>
              </a:gs>
              <a:gs pos="0">
                <a:srgbClr val="073262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800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3728C49-8B97-44DE-B314-372422AECD1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9C4AAAD0-4193-42FD-A688-B0CD9CED6745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E2A8F19F-DE6E-4F6F-B1FB-F82B517C4553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71EA3C23-FE46-4BD5-AC99-6025EBCE08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4766BF9-5F7D-49F6-81BD-0B4EBA1BC190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39C241-A37E-4FB1-AB6F-5454AC48439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42799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B9B68F2-D439-4594-AC54-2D97003187A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370799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49A707FB-2749-4A62-9BFA-375267A10C6A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98799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4">
            <a:extLst>
              <a:ext uri="{FF2B5EF4-FFF2-40B4-BE49-F238E27FC236}">
                <a16:creationId xmlns:a16="http://schemas.microsoft.com/office/drawing/2014/main" id="{D3ACC19A-B912-4B59-B8C0-B7B50203303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226798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588090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901185C5-077B-4940-8CF0-01FC961ECB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16AAC404-50AD-49DC-8CC0-C9AFE4997C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89C17C-E3C9-4300-878F-674F3FE9EA4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1360925D-64BD-4B3C-8A81-8518ADDBB2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42799" y="4412359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20383EBB-A0B3-47F7-87D6-8932F29B6F8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48799" y="4412359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390A7376-F8D9-485E-ACF1-C6D581D91DF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254798" y="4412359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591312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Object Box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1A0431F0-8CC8-49B2-BF38-C64BE300FA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84910E85-A840-A34D-ACA6-7D1ECD49672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33661B-FDB1-4FD2-AA10-7509875192F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56BE9C3-9D24-4D01-BA4D-BF75A9D51FE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C100CA-D516-42FC-BC3F-FAC2BD900CA3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6DCDD012-C59E-408C-9BC6-87284E8CBC48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46798" y="2249827"/>
            <a:ext cx="5400000" cy="3096000"/>
          </a:xfrm>
          <a:prstGeom prst="rect">
            <a:avLst/>
          </a:prstGeom>
        </p:spPr>
        <p:txBody>
          <a:bodyPr anchor="ctr" anchorCtr="0"/>
          <a:lstStyle>
            <a:lvl1pPr algn="ctr"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CBDA8CD-2DCF-4C62-A004-4DB05419240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46798" y="5448612"/>
            <a:ext cx="5400000" cy="68921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2pPr>
            <a:lvl3pPr marL="269875" indent="-269875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  <a:defRPr sz="1400">
                <a:solidFill>
                  <a:schemeClr val="tx2"/>
                </a:solidFill>
              </a:defRPr>
            </a:lvl3pPr>
            <a:lvl4pPr marL="503238" indent="-233363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</a:defRPr>
            </a:lvl4pPr>
            <a:lvl5pPr marL="717550" indent="-193675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defRPr lang="en-GB" sz="105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insert chart commentar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64264AD-E771-4AD5-B1EE-AD1A80E2730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6DA62B6-9735-4EA3-AD07-FF34EF82BD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7AC1B6-E17D-439D-A681-3E7005DA409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B988B8B-FFD1-4F96-AC27-37F2C24F27E1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42799" y="2249827"/>
            <a:ext cx="540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831546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49B78C9-7BB7-49D7-954F-5AA9382FC932}"/>
              </a:ext>
            </a:extLst>
          </p:cNvPr>
          <p:cNvSpPr/>
          <p:nvPr userDrawn="1"/>
        </p:nvSpPr>
        <p:spPr>
          <a:xfrm rot="3341389" flipH="1">
            <a:off x="1622745" y="-3539070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09D40800-6625-A94C-8460-63F6730AD1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itle 3">
            <a:extLst>
              <a:ext uri="{FF2B5EF4-FFF2-40B4-BE49-F238E27FC236}">
                <a16:creationId xmlns:a16="http://schemas.microsoft.com/office/drawing/2014/main" id="{7AB5DCBE-1D2A-43D5-A777-58863EDF1C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716A898-5A89-4CA5-9B40-95FBB2829B5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1BEBC27-A4DD-4672-8056-53320A57DF87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ECBC53C-7DFD-4D73-BD13-DCA234AEE227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761282A5-D45A-4A07-8CAF-7B8F97E7B8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D3BC51-7691-417E-9C98-81FFA8F3AC8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DD5333B-D8D6-491C-8EAC-53588F8C3FC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2799" y="1773238"/>
            <a:ext cx="11303999" cy="4357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592286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568E834-5CC4-4939-BBCE-0A3FE71A54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0" name="Table Placeholder 2">
            <a:extLst>
              <a:ext uri="{FF2B5EF4-FFF2-40B4-BE49-F238E27FC236}">
                <a16:creationId xmlns:a16="http://schemas.microsoft.com/office/drawing/2014/main" id="{B0D006F0-61D9-476E-AD83-77162C97648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42799" y="2249826"/>
            <a:ext cx="11304000" cy="3888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IN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7F41918F-AEF0-3549-9EA6-E7B6AA50A0F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8A1AF2-E8EC-4AF2-BE91-594808F11BA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039E2CB-9F37-473F-93FB-D42BBF5BAAA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D7842F8-F35D-4368-B212-80696337494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4B9BE4BA-75D7-4854-BDC1-5F8B838545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8BC242-7955-47DB-A884-23F7B8DC8A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40769406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082C62B-85C9-4697-8529-D9FA1343B6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7F41918F-AEF0-3549-9EA6-E7B6AA50A0F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8A1AF2-E8EC-4AF2-BE91-594808F11BA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039E2CB-9F37-473F-93FB-D42BBF5BAAA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D7842F8-F35D-4368-B212-80696337494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4B9BE4BA-75D7-4854-BDC1-5F8B838545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8BC242-7955-47DB-A884-23F7B8DC8A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C54E401-1D0D-436B-85F4-4704AD03A9E8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42799" y="2249826"/>
            <a:ext cx="11304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36673765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/ Corners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B162050-E955-4275-BEF2-5423D0077F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D9AC699-128E-45D5-B4BD-EAC43A48A49E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272390D-159B-4196-85C8-AA23F030744B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C6685164-D677-427B-80C8-FE067C72B49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7020BA19-38E8-4FDA-B53A-16F1C13492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BAFA92-4783-4C5A-8253-6644BF0A1D2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9842117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125578B-6503-4AC1-BE39-49EE58B3EA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FCA5AE9-16F5-49C5-B31D-EEE1E47188C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AA9CFC4A-1CEB-4790-BACF-6EA17DF30D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379C90-D03A-4E69-A2E9-B510124AEE82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40327509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m To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FE8928F8-8E19-482D-8DBC-79B7F215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E369FB11-7907-467F-8696-2250886D64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975645" y="2852103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50000"/>
                </a:schemeClr>
              </a:gs>
              <a:gs pos="100000">
                <a:schemeClr val="accent2"/>
              </a:gs>
            </a:gsLst>
            <a:lin ang="0" scaled="1"/>
          </a:gra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r>
              <a:rPr lang="en-US"/>
              <a:t>Click to edit Master text styles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3431397E-CA6D-447B-89CE-7141F152235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913" y="2852103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481F11-552E-4AC1-B90D-84C47A0F5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913" y="2232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From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904BCC42-990A-4C9D-B509-29DF24C802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51600" y="2196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To</a:t>
            </a:r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DF459731-1012-4F51-AB8C-A81255FA384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69592" y="4016631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50000"/>
                </a:schemeClr>
              </a:gs>
              <a:gs pos="100000">
                <a:schemeClr val="accent2"/>
              </a:gs>
            </a:gsLst>
            <a:lin ang="0" scaled="1"/>
          </a:gra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r>
              <a:rPr lang="en-US"/>
              <a:t>Click to edit Master text styles</a:t>
            </a:r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02522068-1D86-4299-A574-347C2821CAF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912" y="4016631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9" name="Text Placeholder 88">
            <a:extLst>
              <a:ext uri="{FF2B5EF4-FFF2-40B4-BE49-F238E27FC236}">
                <a16:creationId xmlns:a16="http://schemas.microsoft.com/office/drawing/2014/main" id="{22D0734C-534D-4AAB-B46F-E3DC9C987D3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981700" y="5181159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50000"/>
                </a:schemeClr>
              </a:gs>
              <a:gs pos="100000">
                <a:schemeClr val="accent2"/>
              </a:gs>
            </a:gsLst>
            <a:lin ang="0" scaled="1"/>
          </a:gra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r>
              <a:rPr lang="en-US"/>
              <a:t>Click to edit Master text styles</a:t>
            </a:r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E3E31F3B-3F47-424E-9E3A-E3D439B3A60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196" y="5181159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D7F8775-4EFF-497B-A127-D347C4E65B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19C3E27-EA49-4C1F-88F7-145D73459B6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5950CD98-A671-4A84-BAA9-FF4FA6646D38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2F17EEC5-3654-468C-B185-1F74B09652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C7B8E5D-5373-4534-B7A6-D90C6CCED9DB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0767675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3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79942E38-DA26-4B18-AFCB-A57E62078A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977456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977455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601033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601033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610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8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522804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609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8992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5275650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0DE3D9A-5745-456B-8E35-49AEDDA27D34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CB7353E-1508-4EB2-B032-CFE0208BB6B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61DE440B-C47F-416C-8AEC-F66503201D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EC20A41-BC4E-4146-B326-26BC80025289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842791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4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4B8BAC0D-870B-4BF1-AF05-F29BD7F64D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530014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530014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27492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27492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Fusce posuere, magna sed pulvinar ultricies, purus lectus malesuada libero, sit amet commodo magna eros quis urna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249702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249702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adipiscing </a:t>
            </a:r>
            <a:r>
              <a:rPr lang="en-US" err="1"/>
              <a:t>elit</a:t>
            </a:r>
            <a:r>
              <a:rPr lang="en-US"/>
              <a:t>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1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36067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481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 marL="0" indent="0">
              <a:buNone/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38589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441111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543633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3E471F1E-DBD6-42B4-BC7F-68658494AEC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C2B1C5B1-DD5C-46BD-9171-3F3551A3196C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CA5EF783-E964-4A68-BFA0-29D6D51481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4B2A3D8-BFDF-4F41-AF46-F35B3FC27A8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019877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5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46442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46441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38376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38375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031084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0309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porttitor congue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lectus </a:t>
            </a:r>
            <a:r>
              <a:rPr lang="en-US" err="1"/>
              <a:t>malesuada</a:t>
            </a:r>
            <a:r>
              <a:rPr lang="en-US"/>
              <a:t> libero, sit amet </a:t>
            </a:r>
            <a:r>
              <a:rPr lang="en-US" err="1"/>
              <a:t>commodo</a:t>
            </a:r>
            <a:r>
              <a:rPr lang="en-US"/>
              <a:t>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2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283225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3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 marL="0" indent="0">
              <a:buNone/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0898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38964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47030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0" name="Text Placeholder 99">
            <a:extLst>
              <a:ext uri="{FF2B5EF4-FFF2-40B4-BE49-F238E27FC236}">
                <a16:creationId xmlns:a16="http://schemas.microsoft.com/office/drawing/2014/main" id="{F26204A4-94F4-4D0B-A32D-54BA8095E0E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3834" y="5450885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BC8A2927-6011-4622-A038-F2F7EAC093B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891363" y="5450755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9" name="Text Placeholder 6">
            <a:extLst>
              <a:ext uri="{FF2B5EF4-FFF2-40B4-BE49-F238E27FC236}">
                <a16:creationId xmlns:a16="http://schemas.microsoft.com/office/drawing/2014/main" id="{7EA2F73C-E0F4-45B1-AB8F-530A19B4351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6415" y="55096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5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FCE79156-B96F-4F0A-B2E6-29388CAA0C8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95460F8E-68BE-4EED-81CC-C73F28ABEB6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8" name="Footer Placeholder 3">
            <a:extLst>
              <a:ext uri="{FF2B5EF4-FFF2-40B4-BE49-F238E27FC236}">
                <a16:creationId xmlns:a16="http://schemas.microsoft.com/office/drawing/2014/main" id="{18AE67F5-F98A-4F06-BBD7-E2724C877E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36C93BA-B2DB-45DF-8168-9205478FAB4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0756955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file Overview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6390E544-F9C7-46B5-9967-B0184FCBF7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879880F-2137-47AB-9566-C8A09E1C8E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20775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14CCA4F3-8BB7-4518-8D07-F4EBBBD39F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1955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5A37B0B-0741-485F-996D-2A2215AD59C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1833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DB37BA3-47E7-413A-B0E7-2CD9DCDEE8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817119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0" name="Title 3">
            <a:extLst>
              <a:ext uri="{FF2B5EF4-FFF2-40B4-BE49-F238E27FC236}">
                <a16:creationId xmlns:a16="http://schemas.microsoft.com/office/drawing/2014/main" id="{E38D729D-5227-49D7-9785-1DC1DF806F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EB6EBEF1-2298-410B-9293-C27A9A420B8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EDF3697C-568B-4AA1-9EF3-9113E2541E2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799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20E879FB-0ECA-4094-A26D-0870481E46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41580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CB7EAE9F-C1C2-4E54-947F-1DAF3E582D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40361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A12F1173-5541-4125-8BBE-11308C342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39143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942C6F7-BF76-41F2-9314-4E67256E96B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174E6F3-834D-466B-90E1-E0AC0A9201E5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DD6F617-9647-465D-AF6F-DC346B76746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CB36714-818D-4C9A-A027-DF7559699983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C4FAD300-8076-4D37-8AE8-A3847079D0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F763012-A5D4-4F14-B146-970A28A8F8C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065553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1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AD1040E6-DB8E-454F-A1C6-10E6553195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33084D-ACDD-6849-8479-977F2DBF36CB}"/>
              </a:ext>
            </a:extLst>
          </p:cNvPr>
          <p:cNvSpPr/>
          <p:nvPr/>
        </p:nvSpPr>
        <p:spPr>
          <a:xfrm rot="5400000">
            <a:off x="5215165" y="-3348040"/>
            <a:ext cx="1759270" cy="11304000"/>
          </a:xfrm>
          <a:prstGeom prst="rect">
            <a:avLst/>
          </a:prstGeom>
          <a:gradFill>
            <a:gsLst>
              <a:gs pos="27000">
                <a:schemeClr val="accent1">
                  <a:alpha val="5000"/>
                </a:schemeClr>
              </a:gs>
              <a:gs pos="90000">
                <a:schemeClr val="accent1">
                  <a:alpha val="5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DF5872F-F6BC-7841-B29A-4A0024AAA7BE}"/>
              </a:ext>
            </a:extLst>
          </p:cNvPr>
          <p:cNvCxnSpPr>
            <a:cxnSpLocks/>
          </p:cNvCxnSpPr>
          <p:nvPr/>
        </p:nvCxnSpPr>
        <p:spPr>
          <a:xfrm>
            <a:off x="466722" y="3166948"/>
            <a:ext cx="11304000" cy="0"/>
          </a:xfrm>
          <a:prstGeom prst="line">
            <a:avLst/>
          </a:prstGeom>
          <a:ln w="22225" cap="sq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0"/>
                  </a:schemeClr>
                </a:gs>
                <a:gs pos="88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4D0F1EE-038A-408D-8E1E-3FC455A38DB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EE4BB152-A459-44BC-9E2C-DCAF8F6F7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2303F9-44E1-4307-AC9F-379BF3BE72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560374B-2FEC-4C35-99AB-CEDF599EA0B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534277" y="1512514"/>
            <a:ext cx="1723431" cy="1582892"/>
          </a:xfrm>
          <a:prstGeom prst="rect">
            <a:avLst/>
          </a:prstGeom>
          <a:blipFill>
            <a:blip r:embed="rId5"/>
            <a:stretch>
              <a:fillRect t="-13941" b="-37632"/>
            </a:stretch>
          </a:blipFill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D3253B7-AD4B-4584-A3FB-5A39DAECC47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442947" y="1779999"/>
            <a:ext cx="3348000" cy="1260000"/>
          </a:xfrm>
        </p:spPr>
        <p:txBody>
          <a:bodyPr/>
          <a:lstStyle>
            <a:lvl1pPr marL="252000" indent="-252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■"/>
              <a:defRPr sz="1200">
                <a:solidFill>
                  <a:schemeClr val="bg1"/>
                </a:solidFill>
              </a:defRPr>
            </a:lvl1pPr>
            <a:lvl2pPr marL="504000">
              <a:spcBef>
                <a:spcPts val="600"/>
              </a:spcBef>
              <a:buClr>
                <a:schemeClr val="bg1"/>
              </a:buClr>
              <a:buSzPct val="80000"/>
              <a:buFont typeface="Arial" panose="020B0604020202020204" pitchFamily="34" charset="0"/>
              <a:buChar char="►"/>
              <a:defRPr sz="1200">
                <a:solidFill>
                  <a:schemeClr val="bg1"/>
                </a:solidFill>
              </a:defRPr>
            </a:lvl2pPr>
            <a:lvl3pPr marL="756000">
              <a:spcBef>
                <a:spcPts val="3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1D7E15C-5201-465D-94F1-58DF8A2A3E3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971045" y="1779999"/>
            <a:ext cx="378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0D9D017-591F-4130-B8A8-3B543BDE478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931142" y="1779999"/>
            <a:ext cx="180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FB4C1B4-E0BE-4F26-A448-A7CF52CEBC5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42799" y="3605213"/>
            <a:ext cx="381600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EAC7EFF-C2B4-45C5-B792-B039CBB5EE85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489832" y="3605213"/>
            <a:ext cx="431028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dirty="0" smtClean="0">
                <a:solidFill>
                  <a:schemeClr val="bg1"/>
                </a:solidFill>
              </a:defRPr>
            </a:lvl1pPr>
            <a:lvl2pPr>
              <a:defRPr lang="en-US" sz="1200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sz="1200" b="0" dirty="0" smtClean="0">
                <a:solidFill>
                  <a:schemeClr val="bg1"/>
                </a:solidFill>
              </a:defRPr>
            </a:lvl4pPr>
            <a:lvl5pPr>
              <a:defRPr lang="en-US" sz="1200" dirty="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4654698-0003-4FE3-ADA4-E7AF24A3611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9031144" y="3605214"/>
            <a:ext cx="2700000" cy="72759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dirty="0" smtClean="0">
                <a:solidFill>
                  <a:schemeClr val="bg1"/>
                </a:solidFill>
              </a:defRPr>
            </a:lvl1pPr>
            <a:lvl2pPr>
              <a:buNone/>
              <a:defRPr lang="en-US" sz="1200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sz="1200" b="0" dirty="0" smtClean="0">
                <a:solidFill>
                  <a:schemeClr val="bg1"/>
                </a:solidFill>
              </a:defRPr>
            </a:lvl4pPr>
            <a:lvl5pPr>
              <a:defRPr lang="en-US" sz="1200" dirty="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72340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429A718C-8EA9-4538-BF62-1949A8E15399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2" name="Title 3">
            <a:extLst>
              <a:ext uri="{FF2B5EF4-FFF2-40B4-BE49-F238E27FC236}">
                <a16:creationId xmlns:a16="http://schemas.microsoft.com/office/drawing/2014/main" id="{647A549A-FC78-4BF2-8AA4-4CBCED8E7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sz="280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F0A051F-2529-469D-B839-67D614047EC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07D8720-3D60-4190-9DDE-9EDFBA572D3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40B7391-998E-44BB-BB77-DAB3F7DB4F6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79836ED2-DE7B-4C2F-8063-36095654B5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405AEB-0FA0-4F4B-A7C1-81C09A14F48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9723207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2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F0F05FBA-A77C-4E16-B6B6-9D2CA0F1FD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4D0F1EE-038A-408D-8E1E-3FC455A38DB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EE4BB152-A459-44BC-9E2C-DCAF8F6F7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2303F9-44E1-4307-AC9F-379BF3BE72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40" name="Picture Placeholder 16">
            <a:extLst>
              <a:ext uri="{FF2B5EF4-FFF2-40B4-BE49-F238E27FC236}">
                <a16:creationId xmlns:a16="http://schemas.microsoft.com/office/drawing/2014/main" id="{4E722CF8-E930-4BEA-A60F-E0E575C70C78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864302" y="155545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/>
            <a:stretch>
              <a:fillRect/>
            </a:stretch>
          </a:blipFill>
          <a:ln w="15875">
            <a:solidFill>
              <a:schemeClr val="accent2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DE14A7-5854-400A-86FF-2487462EA52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442947" y="1779999"/>
            <a:ext cx="3348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5767480-49E3-435C-BB96-3B6BFE3DDF1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971045" y="1779999"/>
            <a:ext cx="378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9476E80-FC3E-4911-AEB1-E2D1DD08607A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931142" y="1779999"/>
            <a:ext cx="180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33705BB-A763-40E5-B5E0-7FEDBC6BBA16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42799" y="3605213"/>
            <a:ext cx="381600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FF3360C-732E-4D01-AA8C-A329747680E7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489832" y="3605213"/>
            <a:ext cx="431028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9127438-5669-4BE6-8B97-A2FFD58A21F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031144" y="3605214"/>
            <a:ext cx="2700000" cy="72759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86803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32E7F5F-6DA6-47CB-9B20-9008A2928B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2777213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9409A921-69CE-4E73-8C64-4D322B88B0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65DC36-62B1-4EA9-8B58-1F8769E3773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1159135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adsho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B8E90BAC-3030-4955-80B2-8C3BA1224B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20BDA3C6-2C55-4EC0-92A0-2FA57310BA2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458151" y="1617885"/>
            <a:ext cx="1224430" cy="1298310"/>
          </a:xfrm>
          <a:prstGeom prst="rect">
            <a:avLst/>
          </a:prstGeom>
          <a:blipFill dpi="0" rotWithShape="1">
            <a:blip r:embed="rId5"/>
            <a:srcRect/>
            <a:stretch>
              <a:fillRect l="-9877" t="1" r="-9275" b="-5820"/>
            </a:stretch>
          </a:blipFill>
          <a:ln w="31750">
            <a:noFill/>
          </a:ln>
          <a:effectLst/>
        </p:spPr>
        <p:txBody>
          <a:bodyPr wrap="square" lIns="72000" anchor="t" anchorCtr="0">
            <a:noAutofit/>
          </a:bodyPr>
          <a:lstStyle>
            <a:lvl1pPr marL="0" indent="0" algn="l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Insert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B4BFA0FB-D432-426F-97B1-7818E24264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44762EA-DFCD-4F24-9797-407D63DA917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9568912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xagon Headsho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89E08BC-221A-4E1C-A353-29149A90C7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  <a:noFill/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DFB4B834-C56F-490A-BC1C-C54AB928B9E4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61536" y="151853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/>
            <a:stretch>
              <a:fillRect/>
            </a:stretch>
          </a:blipFill>
          <a:ln w="15875">
            <a:solidFill>
              <a:srgbClr val="00AECF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1CF07C63-A834-4BF2-9FCB-33E559B5F4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B678BD-E31D-4A5B-A4E4-810EC221D82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6149073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C6ECA7B-CD40-42BA-AF71-AFCBFCDB44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B9B8EA-2AC0-486B-955D-5AFD90844E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E7F6BA-6FF3-4807-A992-128446656EBE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3986358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xagon Graphic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>
            <a:extLst>
              <a:ext uri="{FF2B5EF4-FFF2-40B4-BE49-F238E27FC236}">
                <a16:creationId xmlns:a16="http://schemas.microsoft.com/office/drawing/2014/main" id="{C3BF6C42-748F-4DB3-B568-4B9DC8FC37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998EA4DB-4218-498A-AEC4-23CC43FE457F}"/>
              </a:ext>
            </a:extLst>
          </p:cNvPr>
          <p:cNvSpPr/>
          <p:nvPr userDrawn="1"/>
        </p:nvSpPr>
        <p:spPr>
          <a:xfrm>
            <a:off x="4490359" y="2049775"/>
            <a:ext cx="1592941" cy="1808204"/>
          </a:xfrm>
          <a:custGeom>
            <a:avLst/>
            <a:gdLst>
              <a:gd name="connsiteX0" fmla="*/ 1606503 w 1592941"/>
              <a:gd name="connsiteY0" fmla="*/ 0 h 1808203"/>
              <a:gd name="connsiteX1" fmla="*/ 1606503 w 1592941"/>
              <a:gd name="connsiteY1" fmla="*/ 1358090 h 1808203"/>
              <a:gd name="connsiteX2" fmla="*/ 972555 w 1592941"/>
              <a:gd name="connsiteY2" fmla="*/ 1804114 h 1808203"/>
              <a:gd name="connsiteX3" fmla="*/ 972555 w 1592941"/>
              <a:gd name="connsiteY3" fmla="*/ 1809065 h 1808203"/>
              <a:gd name="connsiteX4" fmla="*/ 0 w 1592941"/>
              <a:gd name="connsiteY4" fmla="*/ 1130127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2941" h="1808203">
                <a:moveTo>
                  <a:pt x="1606503" y="0"/>
                </a:moveTo>
                <a:lnTo>
                  <a:pt x="1606503" y="1358090"/>
                </a:lnTo>
                <a:lnTo>
                  <a:pt x="972555" y="1804114"/>
                </a:lnTo>
                <a:lnTo>
                  <a:pt x="972555" y="1809065"/>
                </a:lnTo>
                <a:lnTo>
                  <a:pt x="0" y="1130127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68B9C2E-6668-4C07-95F1-CB22EEC5D65E}"/>
              </a:ext>
            </a:extLst>
          </p:cNvPr>
          <p:cNvSpPr/>
          <p:nvPr userDrawn="1"/>
        </p:nvSpPr>
        <p:spPr>
          <a:xfrm>
            <a:off x="6096862" y="2046977"/>
            <a:ext cx="1614467" cy="1808204"/>
          </a:xfrm>
          <a:custGeom>
            <a:avLst/>
            <a:gdLst>
              <a:gd name="connsiteX0" fmla="*/ 1615113 w 1614467"/>
              <a:gd name="connsiteY0" fmla="*/ 1138953 h 1808203"/>
              <a:gd name="connsiteX1" fmla="*/ 1615113 w 1614467"/>
              <a:gd name="connsiteY1" fmla="*/ 1139168 h 1808203"/>
              <a:gd name="connsiteX2" fmla="*/ 633947 w 1614467"/>
              <a:gd name="connsiteY2" fmla="*/ 1818321 h 1808203"/>
              <a:gd name="connsiteX3" fmla="*/ 633947 w 1614467"/>
              <a:gd name="connsiteY3" fmla="*/ 1806912 h 1808203"/>
              <a:gd name="connsiteX4" fmla="*/ 1507 w 1614467"/>
              <a:gd name="connsiteY4" fmla="*/ 1359812 h 1808203"/>
              <a:gd name="connsiteX5" fmla="*/ 0 w 1614467"/>
              <a:gd name="connsiteY5" fmla="*/ 1360889 h 1808203"/>
              <a:gd name="connsiteX6" fmla="*/ 0 w 1614467"/>
              <a:gd name="connsiteY6" fmla="*/ 2798 h 1808203"/>
              <a:gd name="connsiteX7" fmla="*/ 3875 w 1614467"/>
              <a:gd name="connsiteY7" fmla="*/ 0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14467" h="1808203">
                <a:moveTo>
                  <a:pt x="1615113" y="1138953"/>
                </a:moveTo>
                <a:lnTo>
                  <a:pt x="1615113" y="1139168"/>
                </a:lnTo>
                <a:lnTo>
                  <a:pt x="633947" y="1818321"/>
                </a:lnTo>
                <a:lnTo>
                  <a:pt x="633947" y="1806912"/>
                </a:lnTo>
                <a:lnTo>
                  <a:pt x="1507" y="1359812"/>
                </a:lnTo>
                <a:lnTo>
                  <a:pt x="0" y="1360889"/>
                </a:lnTo>
                <a:lnTo>
                  <a:pt x="0" y="2798"/>
                </a:lnTo>
                <a:lnTo>
                  <a:pt x="3875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42C4371-8AB2-4223-BBB9-9B8FF4C11085}"/>
              </a:ext>
            </a:extLst>
          </p:cNvPr>
          <p:cNvSpPr/>
          <p:nvPr userDrawn="1"/>
        </p:nvSpPr>
        <p:spPr>
          <a:xfrm>
            <a:off x="6722414" y="3186145"/>
            <a:ext cx="968680" cy="2238728"/>
          </a:xfrm>
          <a:custGeom>
            <a:avLst/>
            <a:gdLst>
              <a:gd name="connsiteX0" fmla="*/ 989561 w 968680"/>
              <a:gd name="connsiteY0" fmla="*/ 0 h 2238728"/>
              <a:gd name="connsiteX1" fmla="*/ 989561 w 968680"/>
              <a:gd name="connsiteY1" fmla="*/ 2238083 h 2238728"/>
              <a:gd name="connsiteX2" fmla="*/ 986117 w 968680"/>
              <a:gd name="connsiteY2" fmla="*/ 2240451 h 2238728"/>
              <a:gd name="connsiteX3" fmla="*/ 0 w 968680"/>
              <a:gd name="connsiteY3" fmla="*/ 1552041 h 2238728"/>
              <a:gd name="connsiteX4" fmla="*/ 8395 w 968680"/>
              <a:gd name="connsiteY4" fmla="*/ 1546229 h 2238728"/>
              <a:gd name="connsiteX5" fmla="*/ 8395 w 968680"/>
              <a:gd name="connsiteY5" fmla="*/ 679153 h 2238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8680" h="2238728">
                <a:moveTo>
                  <a:pt x="989561" y="0"/>
                </a:moveTo>
                <a:lnTo>
                  <a:pt x="989561" y="2238083"/>
                </a:lnTo>
                <a:lnTo>
                  <a:pt x="986117" y="2240451"/>
                </a:lnTo>
                <a:lnTo>
                  <a:pt x="0" y="1552041"/>
                </a:lnTo>
                <a:lnTo>
                  <a:pt x="8395" y="1546229"/>
                </a:lnTo>
                <a:lnTo>
                  <a:pt x="8395" y="679153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4ECC8C-1257-4D1B-B1F3-8689EED79010}"/>
              </a:ext>
            </a:extLst>
          </p:cNvPr>
          <p:cNvSpPr/>
          <p:nvPr userDrawn="1"/>
        </p:nvSpPr>
        <p:spPr>
          <a:xfrm>
            <a:off x="6096862" y="4738186"/>
            <a:ext cx="1592941" cy="1765151"/>
          </a:xfrm>
          <a:custGeom>
            <a:avLst/>
            <a:gdLst>
              <a:gd name="connsiteX0" fmla="*/ 1611669 w 1592941"/>
              <a:gd name="connsiteY0" fmla="*/ 688409 h 1765151"/>
              <a:gd name="connsiteX1" fmla="*/ 0 w 1592941"/>
              <a:gd name="connsiteY1" fmla="*/ 1785386 h 1765151"/>
              <a:gd name="connsiteX2" fmla="*/ 0 w 1592941"/>
              <a:gd name="connsiteY2" fmla="*/ 425574 h 1765151"/>
              <a:gd name="connsiteX3" fmla="*/ 625552 w 1592941"/>
              <a:gd name="connsiteY3" fmla="*/ 0 h 1765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65151">
                <a:moveTo>
                  <a:pt x="1611669" y="688409"/>
                </a:moveTo>
                <a:lnTo>
                  <a:pt x="0" y="1785386"/>
                </a:lnTo>
                <a:lnTo>
                  <a:pt x="0" y="425574"/>
                </a:lnTo>
                <a:lnTo>
                  <a:pt x="625552" y="0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D7F8349-ACC4-4383-99B6-33AAF0248346}"/>
              </a:ext>
            </a:extLst>
          </p:cNvPr>
          <p:cNvSpPr/>
          <p:nvPr userDrawn="1"/>
        </p:nvSpPr>
        <p:spPr>
          <a:xfrm>
            <a:off x="4489713" y="4734957"/>
            <a:ext cx="1592941" cy="1786677"/>
          </a:xfrm>
          <a:custGeom>
            <a:avLst/>
            <a:gdLst>
              <a:gd name="connsiteX0" fmla="*/ 1607149 w 1592941"/>
              <a:gd name="connsiteY0" fmla="*/ 428803 h 1786677"/>
              <a:gd name="connsiteX1" fmla="*/ 1607149 w 1592941"/>
              <a:gd name="connsiteY1" fmla="*/ 1788615 h 1786677"/>
              <a:gd name="connsiteX2" fmla="*/ 0 w 1592941"/>
              <a:gd name="connsiteY2" fmla="*/ 681521 h 1786677"/>
              <a:gd name="connsiteX3" fmla="*/ 984610 w 1592941"/>
              <a:gd name="connsiteY3" fmla="*/ 0 h 1786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86677">
                <a:moveTo>
                  <a:pt x="1607149" y="428803"/>
                </a:moveTo>
                <a:lnTo>
                  <a:pt x="1607149" y="1788615"/>
                </a:lnTo>
                <a:lnTo>
                  <a:pt x="0" y="681521"/>
                </a:lnTo>
                <a:lnTo>
                  <a:pt x="984610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1F91A86-A4FE-4EEA-95A9-ABA2D725D4B1}"/>
              </a:ext>
            </a:extLst>
          </p:cNvPr>
          <p:cNvSpPr/>
          <p:nvPr userDrawn="1"/>
        </p:nvSpPr>
        <p:spPr>
          <a:xfrm>
            <a:off x="4481748" y="3179902"/>
            <a:ext cx="990207" cy="2217202"/>
          </a:xfrm>
          <a:custGeom>
            <a:avLst/>
            <a:gdLst>
              <a:gd name="connsiteX0" fmla="*/ 992575 w 990206"/>
              <a:gd name="connsiteY0" fmla="*/ 1555055 h 2217202"/>
              <a:gd name="connsiteX1" fmla="*/ 7965 w 990206"/>
              <a:gd name="connsiteY1" fmla="*/ 2236576 h 2217202"/>
              <a:gd name="connsiteX2" fmla="*/ 0 w 990206"/>
              <a:gd name="connsiteY2" fmla="*/ 2231194 h 2217202"/>
              <a:gd name="connsiteX3" fmla="*/ 0 w 990206"/>
              <a:gd name="connsiteY3" fmla="*/ 6027 h 2217202"/>
              <a:gd name="connsiteX4" fmla="*/ 8610 w 990206"/>
              <a:gd name="connsiteY4" fmla="*/ 0 h 2217202"/>
              <a:gd name="connsiteX5" fmla="*/ 981166 w 990206"/>
              <a:gd name="connsiteY5" fmla="*/ 678937 h 2217202"/>
              <a:gd name="connsiteX6" fmla="*/ 981166 w 990206"/>
              <a:gd name="connsiteY6" fmla="*/ 1547091 h 2217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206" h="2217202">
                <a:moveTo>
                  <a:pt x="992575" y="1555055"/>
                </a:moveTo>
                <a:lnTo>
                  <a:pt x="7965" y="2236576"/>
                </a:lnTo>
                <a:lnTo>
                  <a:pt x="0" y="2231194"/>
                </a:lnTo>
                <a:lnTo>
                  <a:pt x="0" y="6027"/>
                </a:lnTo>
                <a:lnTo>
                  <a:pt x="8610" y="0"/>
                </a:lnTo>
                <a:lnTo>
                  <a:pt x="981166" y="678937"/>
                </a:lnTo>
                <a:lnTo>
                  <a:pt x="981166" y="1547091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F71D921D-E815-F843-8D83-B6C3C16439D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 userDrawn="1"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9" name="Text Placeholder 22">
            <a:extLst>
              <a:ext uri="{FF2B5EF4-FFF2-40B4-BE49-F238E27FC236}">
                <a16:creationId xmlns:a16="http://schemas.microsoft.com/office/drawing/2014/main" id="{9C2C73CC-7BBA-4AB5-9F31-7A9948DD02C7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0" name="Text Placeholder 22">
            <a:extLst>
              <a:ext uri="{FF2B5EF4-FFF2-40B4-BE49-F238E27FC236}">
                <a16:creationId xmlns:a16="http://schemas.microsoft.com/office/drawing/2014/main" id="{ACF8BC36-C25E-4E14-81DD-43E6AD7F43E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42799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47" name="Text Placeholder 22">
            <a:extLst>
              <a:ext uri="{FF2B5EF4-FFF2-40B4-BE49-F238E27FC236}">
                <a16:creationId xmlns:a16="http://schemas.microsoft.com/office/drawing/2014/main" id="{8ED2000C-3948-4295-8AB2-77B8EA5FC36E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442799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9" name="Text Placeholder 22">
            <a:extLst>
              <a:ext uri="{FF2B5EF4-FFF2-40B4-BE49-F238E27FC236}">
                <a16:creationId xmlns:a16="http://schemas.microsoft.com/office/drawing/2014/main" id="{CAEC8480-4C52-4DF4-9AA5-B6002C4CF189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442799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0" name="Text Placeholder 22">
            <a:extLst>
              <a:ext uri="{FF2B5EF4-FFF2-40B4-BE49-F238E27FC236}">
                <a16:creationId xmlns:a16="http://schemas.microsoft.com/office/drawing/2014/main" id="{CC93A6C9-814A-45DA-9A94-78668198253B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442799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1" name="Text Placeholder 22">
            <a:extLst>
              <a:ext uri="{FF2B5EF4-FFF2-40B4-BE49-F238E27FC236}">
                <a16:creationId xmlns:a16="http://schemas.microsoft.com/office/drawing/2014/main" id="{BCC769DA-6390-4C7E-A4D7-0169214C1BD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442799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2" name="Text Placeholder 22">
            <a:extLst>
              <a:ext uri="{FF2B5EF4-FFF2-40B4-BE49-F238E27FC236}">
                <a16:creationId xmlns:a16="http://schemas.microsoft.com/office/drawing/2014/main" id="{17FB0337-BD14-4336-B29B-3DCE71A60C79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8316410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663F0B75-7DCF-4676-8D96-0F13787305EA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8316410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772D1169-69D6-46E6-8422-F6D62FEC420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16410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325DA6B-3F84-4F11-8E5F-18FF0C5E2C04}"/>
              </a:ext>
            </a:extLst>
          </p:cNvPr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8316410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69" name="Text Placeholder 22">
            <a:extLst>
              <a:ext uri="{FF2B5EF4-FFF2-40B4-BE49-F238E27FC236}">
                <a16:creationId xmlns:a16="http://schemas.microsoft.com/office/drawing/2014/main" id="{F3D91CB9-9423-4706-8307-13B75842526C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8316410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70" name="Text Placeholder 22">
            <a:extLst>
              <a:ext uri="{FF2B5EF4-FFF2-40B4-BE49-F238E27FC236}">
                <a16:creationId xmlns:a16="http://schemas.microsoft.com/office/drawing/2014/main" id="{BBDBFD81-3F25-45C4-931C-C83C44642FA1}"/>
              </a:ext>
            </a:extLst>
          </p:cNvPr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8316410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71" name="Text Placeholder 22">
            <a:extLst>
              <a:ext uri="{FF2B5EF4-FFF2-40B4-BE49-F238E27FC236}">
                <a16:creationId xmlns:a16="http://schemas.microsoft.com/office/drawing/2014/main" id="{8AF38639-9E42-4E6E-B553-2E71FACE72C6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 rot="19506392">
            <a:off x="4707211" y="2532499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2" name="Text Placeholder 22">
            <a:extLst>
              <a:ext uri="{FF2B5EF4-FFF2-40B4-BE49-F238E27FC236}">
                <a16:creationId xmlns:a16="http://schemas.microsoft.com/office/drawing/2014/main" id="{79D5FF8B-3DD9-4FCF-BC25-11B5B708C5C5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 rot="2116930">
            <a:off x="5943838" y="252371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3" name="Text Placeholder 22">
            <a:extLst>
              <a:ext uri="{FF2B5EF4-FFF2-40B4-BE49-F238E27FC236}">
                <a16:creationId xmlns:a16="http://schemas.microsoft.com/office/drawing/2014/main" id="{D62B37A5-61DE-4BC5-AC73-372745F00D33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 rot="5400000">
            <a:off x="6525291" y="3822312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4" name="Text Placeholder 22">
            <a:extLst>
              <a:ext uri="{FF2B5EF4-FFF2-40B4-BE49-F238E27FC236}">
                <a16:creationId xmlns:a16="http://schemas.microsoft.com/office/drawing/2014/main" id="{BF3E3C32-F259-4D5B-A786-01B702121B05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 rot="19561147">
            <a:off x="5958993" y="510039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5" name="Text Placeholder 22">
            <a:extLst>
              <a:ext uri="{FF2B5EF4-FFF2-40B4-BE49-F238E27FC236}">
                <a16:creationId xmlns:a16="http://schemas.microsoft.com/office/drawing/2014/main" id="{C177F396-C670-417E-A13A-5F5DC906BB47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 rot="2089401">
            <a:off x="4714637" y="5104414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6" name="Text Placeholder 22">
            <a:extLst>
              <a:ext uri="{FF2B5EF4-FFF2-40B4-BE49-F238E27FC236}">
                <a16:creationId xmlns:a16="http://schemas.microsoft.com/office/drawing/2014/main" id="{4B383110-BE85-43CD-BC20-B568C760864C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 rot="16200000">
            <a:off x="4110812" y="3845473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1272E3C2-33B0-42F0-98CB-8C8C243BF377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6052DF19-9D96-4A54-8FA3-46C146C0B5F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F5943707-01DA-43C9-BA1F-E7EE0E7D2359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2" name="Footer Placeholder 3">
            <a:extLst>
              <a:ext uri="{FF2B5EF4-FFF2-40B4-BE49-F238E27FC236}">
                <a16:creationId xmlns:a16="http://schemas.microsoft.com/office/drawing/2014/main" id="{70C02C76-34C0-477D-9B7A-973364A4E2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5A932B5-1139-4503-A7E7-6CD9AAADD06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8955397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hombus Graphic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D731281-34B6-477C-8891-B04CE728273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10E4203-08E6-4418-AD09-B8D9334C0A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1450" y="1905000"/>
            <a:ext cx="4229100" cy="4393282"/>
          </a:xfrm>
          <a:prstGeom prst="rect">
            <a:avLst/>
          </a:prstGeom>
        </p:spPr>
      </p:pic>
      <p:sp>
        <p:nvSpPr>
          <p:cNvPr id="109" name="Text Placeholder 22">
            <a:extLst>
              <a:ext uri="{FF2B5EF4-FFF2-40B4-BE49-F238E27FC236}">
                <a16:creationId xmlns:a16="http://schemas.microsoft.com/office/drawing/2014/main" id="{FBCEB81F-942E-4E7A-BE5F-A71E6B6C7C8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 rot="19531667">
            <a:off x="6418611" y="4299467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4" name="Text Placeholder 22">
            <a:extLst>
              <a:ext uri="{FF2B5EF4-FFF2-40B4-BE49-F238E27FC236}">
                <a16:creationId xmlns:a16="http://schemas.microsoft.com/office/drawing/2014/main" id="{5739B760-04F1-4E96-9625-86162A24023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 rot="2012338">
            <a:off x="4209576" y="4269079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7" name="Text Placeholder 22">
            <a:extLst>
              <a:ext uri="{FF2B5EF4-FFF2-40B4-BE49-F238E27FC236}">
                <a16:creationId xmlns:a16="http://schemas.microsoft.com/office/drawing/2014/main" id="{474ED7E6-58E4-4601-9048-F4C3A2B3CCD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2090804">
            <a:off x="6086947" y="265589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7" name="Text Placeholder 22">
            <a:extLst>
              <a:ext uri="{FF2B5EF4-FFF2-40B4-BE49-F238E27FC236}">
                <a16:creationId xmlns:a16="http://schemas.microsoft.com/office/drawing/2014/main" id="{62163FF3-A63D-42A2-B8D8-9D1C745B053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 rot="19584229">
            <a:off x="4526147" y="269911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F71D921D-E815-F843-8D83-B6C3C16439D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DF03B141-FBCC-436D-AD9E-F8C15119CD63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70AE0952-39FD-4454-AAE2-8F8D40805849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166203CE-87B2-4997-9914-45C7469F3E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BF824F2-B806-4A94-975B-1090A135866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912031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quares Graphic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C2918B75-A044-442E-B62C-FF384773B1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6B5300-F1CB-4EEB-8CC9-08A24B4A917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088657" y="2232878"/>
            <a:ext cx="1944000" cy="187200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E8187A81-DCD4-420F-A0D8-52FE345F75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B7E4039A-915B-41DC-A4D1-8E2D00283E4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F5BD438B-55CB-42C1-B923-77D8B42E6907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D0E62E42-E5B5-4D67-854C-182B2B1B94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E9E16FD-31D4-403C-98C8-58ACE1EB9DC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3614C4F9-57DD-410E-BC94-BCE40DDA85E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181219" y="2232878"/>
            <a:ext cx="1944000" cy="1872000"/>
          </a:xfrm>
          <a:prstGeom prst="rect">
            <a:avLst/>
          </a:prstGeom>
          <a:solidFill>
            <a:schemeClr val="accent3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397A3EC-F218-4325-BAC9-F15E16EFBDE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088657" y="4246307"/>
            <a:ext cx="1944000" cy="1872000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F840943-A169-4345-A64D-496EA67778E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81219" y="4246307"/>
            <a:ext cx="1944000" cy="187200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16854352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&amp; Text Boxes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0836554B-499B-4D39-9F38-475CE40E62E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C340F2F0-C5F1-4AB4-8DA4-3433AB32CA09}"/>
              </a:ext>
            </a:extLst>
          </p:cNvPr>
          <p:cNvSpPr/>
          <p:nvPr/>
        </p:nvSpPr>
        <p:spPr>
          <a:xfrm>
            <a:off x="442800" y="3969892"/>
            <a:ext cx="2592000" cy="214621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FED55F9B-215F-46F1-8BF2-58FAE022CE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2799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8" name="Picture Placeholder 2">
            <a:extLst>
              <a:ext uri="{FF2B5EF4-FFF2-40B4-BE49-F238E27FC236}">
                <a16:creationId xmlns:a16="http://schemas.microsoft.com/office/drawing/2014/main" id="{E10A83AB-065A-479D-832E-DAF6AA362A5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45617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2" name="Picture Placeholder 2">
            <a:extLst>
              <a:ext uri="{FF2B5EF4-FFF2-40B4-BE49-F238E27FC236}">
                <a16:creationId xmlns:a16="http://schemas.microsoft.com/office/drawing/2014/main" id="{9ED5828F-8F6F-4738-BC10-43B225486D5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40364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6" name="Picture Placeholder 2">
            <a:extLst>
              <a:ext uri="{FF2B5EF4-FFF2-40B4-BE49-F238E27FC236}">
                <a16:creationId xmlns:a16="http://schemas.microsoft.com/office/drawing/2014/main" id="{E738D5B4-41AD-47FF-B2C3-F953D2665B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151252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263F5F59-A06F-4A43-B481-AC3D078E4175}"/>
              </a:ext>
            </a:extLst>
          </p:cNvPr>
          <p:cNvCxnSpPr>
            <a:cxnSpLocks/>
          </p:cNvCxnSpPr>
          <p:nvPr/>
        </p:nvCxnSpPr>
        <p:spPr>
          <a:xfrm>
            <a:off x="595799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3">
            <a:extLst>
              <a:ext uri="{FF2B5EF4-FFF2-40B4-BE49-F238E27FC236}">
                <a16:creationId xmlns:a16="http://schemas.microsoft.com/office/drawing/2014/main" id="{880895D5-6A9D-45D9-84A5-B48C071FA6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17A71A41-DCC6-44B5-8D6D-901E7A96F64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7" name="Text Placeholder 22">
            <a:extLst>
              <a:ext uri="{FF2B5EF4-FFF2-40B4-BE49-F238E27FC236}">
                <a16:creationId xmlns:a16="http://schemas.microsoft.com/office/drawing/2014/main" id="{B7ADF330-AE85-40DE-835E-B49449314A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17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D17ECCBE-9451-4EF2-9377-41ED7F99FD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9173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93BA6191-995D-4A8B-8097-1BCD8EA9E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2E4D74C-410E-483B-833E-4D7AE804ABE2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883744C2-8338-4510-922E-8171C1DBABC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B42B4048-3937-457B-8213-80A2A3628E05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5" name="Footer Placeholder 3">
            <a:extLst>
              <a:ext uri="{FF2B5EF4-FFF2-40B4-BE49-F238E27FC236}">
                <a16:creationId xmlns:a16="http://schemas.microsoft.com/office/drawing/2014/main" id="{D9EBCE9F-1CDE-44DC-9CF1-533B6C4977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D7BBE5E-1B61-4CA3-801A-918DA43350A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AD6BED7-E2E8-48E7-B6C3-3D790921CE02}"/>
              </a:ext>
            </a:extLst>
          </p:cNvPr>
          <p:cNvSpPr/>
          <p:nvPr userDrawn="1"/>
        </p:nvSpPr>
        <p:spPr>
          <a:xfrm>
            <a:off x="3341581" y="3969892"/>
            <a:ext cx="2592000" cy="214621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F48163F1-E4CF-4E7D-A5AC-7F557B9F9888}"/>
              </a:ext>
            </a:extLst>
          </p:cNvPr>
          <p:cNvCxnSpPr>
            <a:cxnSpLocks/>
          </p:cNvCxnSpPr>
          <p:nvPr userDrawn="1"/>
        </p:nvCxnSpPr>
        <p:spPr>
          <a:xfrm>
            <a:off x="349305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D4DD34B9-07B3-45D6-A5BF-05306FFE4D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9305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445A936B-6A9C-4882-8BF5-60F2E1365B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7642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7818D70A-6530-4BDD-B6BD-0AF00ED04C6D}"/>
              </a:ext>
            </a:extLst>
          </p:cNvPr>
          <p:cNvSpPr/>
          <p:nvPr userDrawn="1"/>
        </p:nvSpPr>
        <p:spPr>
          <a:xfrm>
            <a:off x="6240362" y="3969892"/>
            <a:ext cx="2592000" cy="214621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3D0D619-ECCB-4AFE-A59F-858FA4BFBE68}"/>
              </a:ext>
            </a:extLst>
          </p:cNvPr>
          <p:cNvCxnSpPr>
            <a:cxnSpLocks/>
          </p:cNvCxnSpPr>
          <p:nvPr userDrawn="1"/>
        </p:nvCxnSpPr>
        <p:spPr>
          <a:xfrm>
            <a:off x="639336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22">
            <a:extLst>
              <a:ext uri="{FF2B5EF4-FFF2-40B4-BE49-F238E27FC236}">
                <a16:creationId xmlns:a16="http://schemas.microsoft.com/office/drawing/2014/main" id="{F1F9C027-3BB0-4222-86AF-4FB620642C2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9336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1" name="Text Placeholder 22">
            <a:extLst>
              <a:ext uri="{FF2B5EF4-FFF2-40B4-BE49-F238E27FC236}">
                <a16:creationId xmlns:a16="http://schemas.microsoft.com/office/drawing/2014/main" id="{13334C41-9D92-43F9-9466-EC60629C93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7673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7251D0E-07EF-48AE-B28B-8B7FE9960262}"/>
              </a:ext>
            </a:extLst>
          </p:cNvPr>
          <p:cNvSpPr/>
          <p:nvPr userDrawn="1"/>
        </p:nvSpPr>
        <p:spPr>
          <a:xfrm>
            <a:off x="9139143" y="3969892"/>
            <a:ext cx="2592000" cy="2146211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9E8C4562-237D-43E7-9629-0C9E2F6F24A4}"/>
              </a:ext>
            </a:extLst>
          </p:cNvPr>
          <p:cNvCxnSpPr>
            <a:cxnSpLocks/>
          </p:cNvCxnSpPr>
          <p:nvPr userDrawn="1"/>
        </p:nvCxnSpPr>
        <p:spPr>
          <a:xfrm>
            <a:off x="929214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 Placeholder 22">
            <a:extLst>
              <a:ext uri="{FF2B5EF4-FFF2-40B4-BE49-F238E27FC236}">
                <a16:creationId xmlns:a16="http://schemas.microsoft.com/office/drawing/2014/main" id="{181F6102-B745-4818-A0BA-504371F2668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75518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2C37B76-7729-4001-A7C4-B08D2F98971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7551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2488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w/ Icons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A701FB85-C272-4F67-9376-36F249DCAFBF}"/>
              </a:ext>
            </a:extLst>
          </p:cNvPr>
          <p:cNvSpPr/>
          <p:nvPr userDrawn="1"/>
        </p:nvSpPr>
        <p:spPr>
          <a:xfrm>
            <a:off x="3020406" y="0"/>
            <a:ext cx="917159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1ED8F4F-C0B6-428A-8156-2EAE02418D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20764" y="2408983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6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2219E8E-B81B-42A6-9777-5061C48EB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948473" y="4427669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D3371-D5A0-444B-8039-E662C6EAB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20764" y="390296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1A0F3B76-3382-9248-82C0-E233897683C1}"/>
              </a:ext>
            </a:extLst>
          </p:cNvPr>
          <p:cNvSpPr/>
          <p:nvPr/>
        </p:nvSpPr>
        <p:spPr>
          <a:xfrm>
            <a:off x="0" y="5458906"/>
            <a:ext cx="3131911" cy="1406635"/>
          </a:xfrm>
          <a:custGeom>
            <a:avLst/>
            <a:gdLst>
              <a:gd name="connsiteX0" fmla="*/ 1069980 w 3131911"/>
              <a:gd name="connsiteY0" fmla="*/ 0 h 1406635"/>
              <a:gd name="connsiteX1" fmla="*/ 3131911 w 3131911"/>
              <a:gd name="connsiteY1" fmla="*/ 1406635 h 1406635"/>
              <a:gd name="connsiteX2" fmla="*/ 0 w 3131911"/>
              <a:gd name="connsiteY2" fmla="*/ 1406635 h 1406635"/>
              <a:gd name="connsiteX3" fmla="*/ 0 w 3131911"/>
              <a:gd name="connsiteY3" fmla="*/ 751147 h 1406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1911" h="1406635">
                <a:moveTo>
                  <a:pt x="1069980" y="0"/>
                </a:moveTo>
                <a:lnTo>
                  <a:pt x="3131911" y="1406635"/>
                </a:lnTo>
                <a:lnTo>
                  <a:pt x="0" y="1406635"/>
                </a:lnTo>
                <a:lnTo>
                  <a:pt x="0" y="75114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rgbClr val="073262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7FBD1F2-8F8E-4ED2-B94D-477D0A3B1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813"/>
          <a:stretch/>
        </p:blipFill>
        <p:spPr>
          <a:xfrm>
            <a:off x="-29603" y="0"/>
            <a:ext cx="4772841" cy="685800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30">
            <a:extLst>
              <a:ext uri="{FF2B5EF4-FFF2-40B4-BE49-F238E27FC236}">
                <a16:creationId xmlns:a16="http://schemas.microsoft.com/office/drawing/2014/main" id="{9B2D83E3-7F99-7D4F-8872-D013EB064C64}"/>
              </a:ext>
            </a:extLst>
          </p:cNvPr>
          <p:cNvSpPr/>
          <p:nvPr/>
        </p:nvSpPr>
        <p:spPr>
          <a:xfrm flipH="1">
            <a:off x="1463681" y="5720587"/>
            <a:ext cx="2037801" cy="1137413"/>
          </a:xfrm>
          <a:custGeom>
            <a:avLst/>
            <a:gdLst>
              <a:gd name="connsiteX0" fmla="*/ 1647526 w 2037801"/>
              <a:gd name="connsiteY0" fmla="*/ 0 h 1137413"/>
              <a:gd name="connsiteX1" fmla="*/ 0 w 2037801"/>
              <a:gd name="connsiteY1" fmla="*/ 1137412 h 1137413"/>
              <a:gd name="connsiteX2" fmla="*/ 4 w 2037801"/>
              <a:gd name="connsiteY2" fmla="*/ 1137413 h 1137413"/>
              <a:gd name="connsiteX3" fmla="*/ 763670 w 2037801"/>
              <a:gd name="connsiteY3" fmla="*/ 1137413 h 1137413"/>
              <a:gd name="connsiteX4" fmla="*/ 2037801 w 2037801"/>
              <a:gd name="connsiteY4" fmla="*/ 260147 h 113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7801" h="1137413">
                <a:moveTo>
                  <a:pt x="1647526" y="0"/>
                </a:moveTo>
                <a:lnTo>
                  <a:pt x="0" y="1137412"/>
                </a:lnTo>
                <a:lnTo>
                  <a:pt x="4" y="1137413"/>
                </a:lnTo>
                <a:lnTo>
                  <a:pt x="763670" y="1137413"/>
                </a:lnTo>
                <a:lnTo>
                  <a:pt x="2037801" y="26014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00D3F3F-CEDE-AA4A-B072-12C37EE83EF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AAC0CD-3BB0-4D9E-A908-07FDE5E8E65A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A23EC76-A22A-47BD-BB6E-CAADBA2F82A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4671103-7E79-47FF-8825-80F398220656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7E3823-172A-41D7-9615-01B526ADC265}"/>
              </a:ext>
            </a:extLst>
          </p:cNvPr>
          <p:cNvGrpSpPr/>
          <p:nvPr userDrawn="1"/>
        </p:nvGrpSpPr>
        <p:grpSpPr>
          <a:xfrm>
            <a:off x="5348713" y="390296"/>
            <a:ext cx="377904" cy="521508"/>
            <a:chOff x="5302993" y="401719"/>
            <a:chExt cx="377904" cy="521508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09B9F4C-9DEC-4C04-B351-C0AF80F0C2A2}"/>
                </a:ext>
              </a:extLst>
            </p:cNvPr>
            <p:cNvSpPr/>
            <p:nvPr userDrawn="1"/>
          </p:nvSpPr>
          <p:spPr>
            <a:xfrm>
              <a:off x="5302993" y="401719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1F1A1A7D-1BE7-41E8-AC2D-AE6B08947B2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358595" y="510073"/>
              <a:ext cx="266700" cy="3048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EE4C06B-38BA-4258-A35B-A740ADC05DF2}"/>
              </a:ext>
            </a:extLst>
          </p:cNvPr>
          <p:cNvGrpSpPr/>
          <p:nvPr userDrawn="1"/>
        </p:nvGrpSpPr>
        <p:grpSpPr>
          <a:xfrm>
            <a:off x="5376422" y="4427669"/>
            <a:ext cx="377904" cy="521508"/>
            <a:chOff x="5302993" y="4340636"/>
            <a:chExt cx="377904" cy="521508"/>
          </a:xfrm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90BBA3B-007E-49C2-B8B9-A965F9165FC7}"/>
                </a:ext>
              </a:extLst>
            </p:cNvPr>
            <p:cNvSpPr/>
            <p:nvPr userDrawn="1"/>
          </p:nvSpPr>
          <p:spPr>
            <a:xfrm>
              <a:off x="5302993" y="434063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C0C001C4-EE98-4465-8B7B-D8A818ED696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5367950" y="4472435"/>
              <a:ext cx="247990" cy="257910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F5648FF-6840-4E1E-B545-5ECC7A2C57F2}"/>
              </a:ext>
            </a:extLst>
          </p:cNvPr>
          <p:cNvGrpSpPr/>
          <p:nvPr userDrawn="1"/>
        </p:nvGrpSpPr>
        <p:grpSpPr>
          <a:xfrm>
            <a:off x="5348713" y="2408983"/>
            <a:ext cx="377904" cy="521508"/>
            <a:chOff x="5302993" y="2446026"/>
            <a:chExt cx="377904" cy="521508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C056E5A-50B8-4FF1-9AD8-E4003692D263}"/>
                </a:ext>
              </a:extLst>
            </p:cNvPr>
            <p:cNvSpPr/>
            <p:nvPr userDrawn="1"/>
          </p:nvSpPr>
          <p:spPr>
            <a:xfrm>
              <a:off x="5302993" y="244602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6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D99936D8-E816-4D48-9BE0-BF3EFC24B9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5379372" y="2567719"/>
              <a:ext cx="225147" cy="278123"/>
            </a:xfrm>
            <a:prstGeom prst="rect">
              <a:avLst/>
            </a:prstGeom>
          </p:spPr>
        </p:pic>
      </p:grp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E794FE20-82FD-46D6-9711-962A1049D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AFECE-15A3-416B-B50A-EBF3EED088E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4377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F6318C5-3E8C-4027-8ADE-94D6DFF893DF}"/>
              </a:ext>
            </a:extLst>
          </p:cNvPr>
          <p:cNvSpPr/>
          <p:nvPr userDrawn="1"/>
        </p:nvSpPr>
        <p:spPr>
          <a:xfrm rot="3341389" flipH="1">
            <a:off x="1613714" y="-3539070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4910E85-A840-A34D-ACA6-7D1ECD49672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B0EA591-0F76-4C5D-A80F-BE3FFDBDE3C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33661B-FDB1-4FD2-AA10-7509875192F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56BE9C3-9D24-4D01-BA4D-BF75A9D51FE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C100CA-D516-42FC-BC3F-FAC2BD900CA3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5F455DBC-1E38-439B-BEB5-04B5EAD319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D630176-F6B5-47F2-8078-132CA09BA102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35BF33-BB6E-45E7-8DA2-B771B41B93E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42799" y="2249826"/>
            <a:ext cx="5399999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99B19804-BB2B-4735-8B2C-A604FF50836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346799" y="2249826"/>
            <a:ext cx="5399999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0657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704">
          <p15:clr>
            <a:srgbClr val="FBAE40"/>
          </p15:clr>
        </p15:guide>
        <p15:guide id="3" pos="3976">
          <p15:clr>
            <a:srgbClr val="FBAE40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5F519C3B-7679-44F1-B6BE-2792888A5E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30" name="Freeform 29">
            <a:extLst>
              <a:ext uri="{FF2B5EF4-FFF2-40B4-BE49-F238E27FC236}">
                <a16:creationId xmlns:a16="http://schemas.microsoft.com/office/drawing/2014/main" id="{1A0F3B76-3382-9248-82C0-E233897683C1}"/>
              </a:ext>
            </a:extLst>
          </p:cNvPr>
          <p:cNvSpPr/>
          <p:nvPr/>
        </p:nvSpPr>
        <p:spPr>
          <a:xfrm>
            <a:off x="0" y="5458906"/>
            <a:ext cx="3131911" cy="1406635"/>
          </a:xfrm>
          <a:custGeom>
            <a:avLst/>
            <a:gdLst>
              <a:gd name="connsiteX0" fmla="*/ 1069980 w 3131911"/>
              <a:gd name="connsiteY0" fmla="*/ 0 h 1406635"/>
              <a:gd name="connsiteX1" fmla="*/ 3131911 w 3131911"/>
              <a:gd name="connsiteY1" fmla="*/ 1406635 h 1406635"/>
              <a:gd name="connsiteX2" fmla="*/ 0 w 3131911"/>
              <a:gd name="connsiteY2" fmla="*/ 1406635 h 1406635"/>
              <a:gd name="connsiteX3" fmla="*/ 0 w 3131911"/>
              <a:gd name="connsiteY3" fmla="*/ 751147 h 1406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1911" h="1406635">
                <a:moveTo>
                  <a:pt x="1069980" y="0"/>
                </a:moveTo>
                <a:lnTo>
                  <a:pt x="3131911" y="1406635"/>
                </a:lnTo>
                <a:lnTo>
                  <a:pt x="0" y="1406635"/>
                </a:lnTo>
                <a:lnTo>
                  <a:pt x="0" y="75114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rgbClr val="073262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7FBD1F2-8F8E-4ED2-B94D-477D0A3B1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813"/>
          <a:stretch/>
        </p:blipFill>
        <p:spPr>
          <a:xfrm>
            <a:off x="0" y="0"/>
            <a:ext cx="4772841" cy="685800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30">
            <a:extLst>
              <a:ext uri="{FF2B5EF4-FFF2-40B4-BE49-F238E27FC236}">
                <a16:creationId xmlns:a16="http://schemas.microsoft.com/office/drawing/2014/main" id="{9B2D83E3-7F99-7D4F-8872-D013EB064C64}"/>
              </a:ext>
            </a:extLst>
          </p:cNvPr>
          <p:cNvSpPr/>
          <p:nvPr/>
        </p:nvSpPr>
        <p:spPr>
          <a:xfrm flipH="1">
            <a:off x="1463681" y="5720587"/>
            <a:ext cx="2037801" cy="1137413"/>
          </a:xfrm>
          <a:custGeom>
            <a:avLst/>
            <a:gdLst>
              <a:gd name="connsiteX0" fmla="*/ 1647526 w 2037801"/>
              <a:gd name="connsiteY0" fmla="*/ 0 h 1137413"/>
              <a:gd name="connsiteX1" fmla="*/ 0 w 2037801"/>
              <a:gd name="connsiteY1" fmla="*/ 1137412 h 1137413"/>
              <a:gd name="connsiteX2" fmla="*/ 4 w 2037801"/>
              <a:gd name="connsiteY2" fmla="*/ 1137413 h 1137413"/>
              <a:gd name="connsiteX3" fmla="*/ 763670 w 2037801"/>
              <a:gd name="connsiteY3" fmla="*/ 1137413 h 1137413"/>
              <a:gd name="connsiteX4" fmla="*/ 2037801 w 2037801"/>
              <a:gd name="connsiteY4" fmla="*/ 260147 h 113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7801" h="1137413">
                <a:moveTo>
                  <a:pt x="1647526" y="0"/>
                </a:moveTo>
                <a:lnTo>
                  <a:pt x="0" y="1137412"/>
                </a:lnTo>
                <a:lnTo>
                  <a:pt x="4" y="1137413"/>
                </a:lnTo>
                <a:lnTo>
                  <a:pt x="763670" y="1137413"/>
                </a:lnTo>
                <a:lnTo>
                  <a:pt x="2037801" y="26014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00D3F3F-CEDE-AA4A-B072-12C37EE83EF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AAC0CD-3BB0-4D9E-A908-07FDE5E8E65A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A23EC76-A22A-47BD-BB6E-CAADBA2F82A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4671103-7E79-47FF-8825-80F398220656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E794FE20-82FD-46D6-9711-962A1049D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AFECE-15A3-416B-B50A-EBF3EED088E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D7DA9FC-4A8A-474C-A470-0A89FD6D35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1160" y="2408983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6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37082A0-E26A-4C9D-84EC-E66A1C56E1B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38869" y="4427669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06B4988-6484-41EF-A3B1-D23D8B5E83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11160" y="390296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339098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7D2F9448-0442-4289-9A73-5E06016513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E1BFC2F-99FE-45E8-9D6F-546CAB2241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3385E9-575A-4E97-BE38-0A19A73B40A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EECBC3-0434-4E5B-80EB-F18E5858D660}"/>
              </a:ext>
            </a:extLst>
          </p:cNvPr>
          <p:cNvCxnSpPr>
            <a:cxnSpLocks/>
          </p:cNvCxnSpPr>
          <p:nvPr userDrawn="1"/>
        </p:nvCxnSpPr>
        <p:spPr>
          <a:xfrm>
            <a:off x="442799" y="3214819"/>
            <a:ext cx="4932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34">
            <a:extLst>
              <a:ext uri="{FF2B5EF4-FFF2-40B4-BE49-F238E27FC236}">
                <a16:creationId xmlns:a16="http://schemas.microsoft.com/office/drawing/2014/main" id="{5A1ED52C-F219-40BD-AD78-26E909BD31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442799" y="3565604"/>
            <a:ext cx="2810216" cy="1168340"/>
          </a:xfrm>
          <a:prstGeom prst="rect">
            <a:avLst/>
          </a:prstGeom>
        </p:spPr>
      </p:pic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BECDE2C7-ADDA-481D-93A9-E61494A648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9C7DB8-50DE-4F4D-8D3A-E1B644BEBD0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13" name="Freeform: Shape 38">
            <a:extLst>
              <a:ext uri="{FF2B5EF4-FFF2-40B4-BE49-F238E27FC236}">
                <a16:creationId xmlns:a16="http://schemas.microsoft.com/office/drawing/2014/main" id="{5BEACAC3-A4D3-4A5A-BCBD-6A6FB904BDBC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C2A9049B-2A71-4DF7-A59B-F291023D31D2}"/>
              </a:ext>
            </a:extLst>
          </p:cNvPr>
          <p:cNvSpPr/>
          <p:nvPr userDrawn="1"/>
        </p:nvSpPr>
        <p:spPr>
          <a:xfrm>
            <a:off x="10121759" y="2893156"/>
            <a:ext cx="2070240" cy="2020997"/>
          </a:xfrm>
          <a:custGeom>
            <a:avLst/>
            <a:gdLst>
              <a:gd name="connsiteX0" fmla="*/ 803684 w 2070240"/>
              <a:gd name="connsiteY0" fmla="*/ 0 h 2020997"/>
              <a:gd name="connsiteX1" fmla="*/ 2069497 w 2070240"/>
              <a:gd name="connsiteY1" fmla="*/ 889314 h 2020997"/>
              <a:gd name="connsiteX2" fmla="*/ 2069597 w 2070240"/>
              <a:gd name="connsiteY2" fmla="*/ 713297 h 2020997"/>
              <a:gd name="connsiteX3" fmla="*/ 2070240 w 2070240"/>
              <a:gd name="connsiteY3" fmla="*/ 713739 h 2020997"/>
              <a:gd name="connsiteX4" fmla="*/ 2069497 w 2070240"/>
              <a:gd name="connsiteY4" fmla="*/ 2020997 h 2020997"/>
              <a:gd name="connsiteX5" fmla="*/ 0 w 2070240"/>
              <a:gd name="connsiteY5" fmla="*/ 567044 h 202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0240" h="2020997">
                <a:moveTo>
                  <a:pt x="803684" y="0"/>
                </a:moveTo>
                <a:lnTo>
                  <a:pt x="2069497" y="889314"/>
                </a:lnTo>
                <a:lnTo>
                  <a:pt x="2069597" y="713297"/>
                </a:lnTo>
                <a:lnTo>
                  <a:pt x="2070240" y="713739"/>
                </a:lnTo>
                <a:lnTo>
                  <a:pt x="2069497" y="2020997"/>
                </a:lnTo>
                <a:lnTo>
                  <a:pt x="0" y="567044"/>
                </a:lnTo>
                <a:close/>
              </a:path>
            </a:pathLst>
          </a:custGeom>
          <a:gradFill>
            <a:gsLst>
              <a:gs pos="21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5428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2BB801F-CEBA-4CDD-B9F0-EBA65001B1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1013A4B-2C3A-4DE4-AACD-0C2F7C1BFAF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5775" y="10160"/>
            <a:ext cx="12219085" cy="6858000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1875275 w 8131604"/>
              <a:gd name="connsiteY4" fmla="*/ 0 h 6877896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0 h 6877896"/>
              <a:gd name="connsiteX1" fmla="*/ 8537299 w 8537299"/>
              <a:gd name="connsiteY1" fmla="*/ 4343205 h 6877896"/>
              <a:gd name="connsiteX2" fmla="*/ 8534755 w 8537299"/>
              <a:gd name="connsiteY2" fmla="*/ 6877896 h 6877896"/>
              <a:gd name="connsiteX3" fmla="*/ 405695 w 8537299"/>
              <a:gd name="connsiteY3" fmla="*/ 6877896 h 6877896"/>
              <a:gd name="connsiteX4" fmla="*/ 1332935 w 8537299"/>
              <a:gd name="connsiteY4" fmla="*/ 3441969 h 6877896"/>
              <a:gd name="connsiteX5" fmla="*/ 2280970 w 8537299"/>
              <a:gd name="connsiteY5" fmla="*/ 0 h 6877896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927240 w 8131604"/>
              <a:gd name="connsiteY4" fmla="*/ 3441969 h 6877896"/>
              <a:gd name="connsiteX5" fmla="*/ 1875275 w 8131604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0 w 10044545"/>
              <a:gd name="connsiteY4" fmla="*/ 19896 h 6877896"/>
              <a:gd name="connsiteX5" fmla="*/ 3788216 w 10044545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526473 w 10044545"/>
              <a:gd name="connsiteY4" fmla="*/ 1945678 h 6877896"/>
              <a:gd name="connsiteX5" fmla="*/ 0 w 10044545"/>
              <a:gd name="connsiteY5" fmla="*/ 19896 h 6877896"/>
              <a:gd name="connsiteX6" fmla="*/ 3788216 w 10044545"/>
              <a:gd name="connsiteY6" fmla="*/ 0 h 6877896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2687782 w 12205854"/>
              <a:gd name="connsiteY4" fmla="*/ 1945678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13855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43896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96234 h 6987984"/>
              <a:gd name="connsiteX1" fmla="*/ 12205854 w 12217165"/>
              <a:gd name="connsiteY1" fmla="*/ 4439439 h 6987984"/>
              <a:gd name="connsiteX2" fmla="*/ 12217165 w 12217165"/>
              <a:gd name="connsiteY2" fmla="*/ 6987984 h 6987984"/>
              <a:gd name="connsiteX3" fmla="*/ 4074250 w 12217165"/>
              <a:gd name="connsiteY3" fmla="*/ 6974130 h 6987984"/>
              <a:gd name="connsiteX4" fmla="*/ 13855 w 12217165"/>
              <a:gd name="connsiteY4" fmla="*/ 6946421 h 6987984"/>
              <a:gd name="connsiteX5" fmla="*/ 0 w 12217165"/>
              <a:gd name="connsiteY5" fmla="*/ 1612421 h 6987984"/>
              <a:gd name="connsiteX6" fmla="*/ 2161309 w 12217165"/>
              <a:gd name="connsiteY6" fmla="*/ 116130 h 6987984"/>
              <a:gd name="connsiteX7" fmla="*/ 5949525 w 12217165"/>
              <a:gd name="connsiteY7" fmla="*/ 96234 h 6987984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49724 w 12217364"/>
              <a:gd name="connsiteY0" fmla="*/ 0 h 6891750"/>
              <a:gd name="connsiteX1" fmla="*/ 12206053 w 12217364"/>
              <a:gd name="connsiteY1" fmla="*/ 4343205 h 6891750"/>
              <a:gd name="connsiteX2" fmla="*/ 12217364 w 12217364"/>
              <a:gd name="connsiteY2" fmla="*/ 6891750 h 6891750"/>
              <a:gd name="connsiteX3" fmla="*/ 4074449 w 12217364"/>
              <a:gd name="connsiteY3" fmla="*/ 6877896 h 6891750"/>
              <a:gd name="connsiteX4" fmla="*/ 14054 w 12217364"/>
              <a:gd name="connsiteY4" fmla="*/ 6850187 h 6891750"/>
              <a:gd name="connsiteX5" fmla="*/ 199 w 12217364"/>
              <a:gd name="connsiteY5" fmla="*/ 1516187 h 6891750"/>
              <a:gd name="connsiteX6" fmla="*/ 22741 w 12217364"/>
              <a:gd name="connsiteY6" fmla="*/ 19896 h 6891750"/>
              <a:gd name="connsiteX7" fmla="*/ 5949724 w 12217364"/>
              <a:gd name="connsiteY7" fmla="*/ 0 h 6891750"/>
              <a:gd name="connsiteX0" fmla="*/ 5949936 w 12217576"/>
              <a:gd name="connsiteY0" fmla="*/ 0 h 6891750"/>
              <a:gd name="connsiteX1" fmla="*/ 12206265 w 12217576"/>
              <a:gd name="connsiteY1" fmla="*/ 4343205 h 6891750"/>
              <a:gd name="connsiteX2" fmla="*/ 12217576 w 12217576"/>
              <a:gd name="connsiteY2" fmla="*/ 6891750 h 6891750"/>
              <a:gd name="connsiteX3" fmla="*/ 4074661 w 12217576"/>
              <a:gd name="connsiteY3" fmla="*/ 6877896 h 6891750"/>
              <a:gd name="connsiteX4" fmla="*/ 14266 w 12217576"/>
              <a:gd name="connsiteY4" fmla="*/ 6850187 h 6891750"/>
              <a:gd name="connsiteX5" fmla="*/ 411 w 12217576"/>
              <a:gd name="connsiteY5" fmla="*/ 1516187 h 6891750"/>
              <a:gd name="connsiteX6" fmla="*/ 7455 w 12217576"/>
              <a:gd name="connsiteY6" fmla="*/ 19896 h 6891750"/>
              <a:gd name="connsiteX7" fmla="*/ 5949936 w 12217576"/>
              <a:gd name="connsiteY7" fmla="*/ 0 h 6891750"/>
              <a:gd name="connsiteX0" fmla="*/ 5951445 w 12219085"/>
              <a:gd name="connsiteY0" fmla="*/ 0 h 6891750"/>
              <a:gd name="connsiteX1" fmla="*/ 12207774 w 12219085"/>
              <a:gd name="connsiteY1" fmla="*/ 4343205 h 6891750"/>
              <a:gd name="connsiteX2" fmla="*/ 12219085 w 12219085"/>
              <a:gd name="connsiteY2" fmla="*/ 6891750 h 6891750"/>
              <a:gd name="connsiteX3" fmla="*/ 4076170 w 12219085"/>
              <a:gd name="connsiteY3" fmla="*/ 6877896 h 6891750"/>
              <a:gd name="connsiteX4" fmla="*/ 1261 w 12219085"/>
              <a:gd name="connsiteY4" fmla="*/ 6879216 h 6891750"/>
              <a:gd name="connsiteX5" fmla="*/ 1920 w 12219085"/>
              <a:gd name="connsiteY5" fmla="*/ 1516187 h 6891750"/>
              <a:gd name="connsiteX6" fmla="*/ 8964 w 12219085"/>
              <a:gd name="connsiteY6" fmla="*/ 19896 h 6891750"/>
              <a:gd name="connsiteX7" fmla="*/ 5951445 w 12219085"/>
              <a:gd name="connsiteY7" fmla="*/ 0 h 689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9085" h="6891750">
                <a:moveTo>
                  <a:pt x="5951445" y="0"/>
                </a:moveTo>
                <a:lnTo>
                  <a:pt x="12207774" y="4343205"/>
                </a:lnTo>
                <a:cubicBezTo>
                  <a:pt x="12211544" y="5192720"/>
                  <a:pt x="12215315" y="6042235"/>
                  <a:pt x="12219085" y="6891750"/>
                </a:cubicBezTo>
                <a:lnTo>
                  <a:pt x="4076170" y="6877896"/>
                </a:lnTo>
                <a:lnTo>
                  <a:pt x="1261" y="6879216"/>
                </a:lnTo>
                <a:cubicBezTo>
                  <a:pt x="-3357" y="5110452"/>
                  <a:pt x="6538" y="3284951"/>
                  <a:pt x="1920" y="1516187"/>
                </a:cubicBezTo>
                <a:cubicBezTo>
                  <a:pt x="-898" y="1001925"/>
                  <a:pt x="11782" y="518660"/>
                  <a:pt x="8964" y="19896"/>
                </a:cubicBezTo>
                <a:lnTo>
                  <a:pt x="5951445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DFDCD53E-B970-474F-A296-7F5D3D3670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2596681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F4D0EB71-A2B4-47F8-A43C-B44A52DA54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E96BF9C-3A9B-4F3E-9F61-1D941B653E9B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CD4190-9BC7-4476-AF83-E6D1A2BFB31D}"/>
              </a:ext>
            </a:extLst>
          </p:cNvPr>
          <p:cNvSpPr/>
          <p:nvPr userDrawn="1"/>
        </p:nvSpPr>
        <p:spPr>
          <a:xfrm rot="4191016">
            <a:off x="560557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84BD3FC-E6DB-474F-B265-92A120F91168}"/>
              </a:ext>
            </a:extLst>
          </p:cNvPr>
          <p:cNvSpPr/>
          <p:nvPr userDrawn="1"/>
        </p:nvSpPr>
        <p:spPr>
          <a:xfrm flipH="1">
            <a:off x="9184940" y="2369821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6046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3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95AB1DB6-D127-4F7D-B30A-D354F9CD8F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9" name="Right Triangle 8">
            <a:extLst>
              <a:ext uri="{FF2B5EF4-FFF2-40B4-BE49-F238E27FC236}">
                <a16:creationId xmlns:a16="http://schemas.microsoft.com/office/drawing/2014/main" id="{5F0F5E84-3D08-463C-A2F4-3F622F79D6AE}"/>
              </a:ext>
            </a:extLst>
          </p:cNvPr>
          <p:cNvSpPr/>
          <p:nvPr userDrawn="1"/>
        </p:nvSpPr>
        <p:spPr>
          <a:xfrm rot="16200000">
            <a:off x="9386887" y="4069666"/>
            <a:ext cx="2805111" cy="280511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6635DDF-EA99-074A-B8AA-6DB89B54130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88272" y="1212712"/>
            <a:ext cx="8103729" cy="5645288"/>
          </a:xfrm>
          <a:custGeom>
            <a:avLst/>
            <a:gdLst>
              <a:gd name="connsiteX0" fmla="*/ 8103729 w 8103729"/>
              <a:gd name="connsiteY0" fmla="*/ 0 h 5645288"/>
              <a:gd name="connsiteX1" fmla="*/ 8103729 w 8103729"/>
              <a:gd name="connsiteY1" fmla="*/ 4023746 h 5645288"/>
              <a:gd name="connsiteX2" fmla="*/ 5764894 w 8103729"/>
              <a:gd name="connsiteY2" fmla="*/ 5645288 h 5645288"/>
              <a:gd name="connsiteX3" fmla="*/ 0 w 8103729"/>
              <a:gd name="connsiteY3" fmla="*/ 5645288 h 5645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03729" h="5645288">
                <a:moveTo>
                  <a:pt x="8103729" y="0"/>
                </a:moveTo>
                <a:lnTo>
                  <a:pt x="8103729" y="4023746"/>
                </a:lnTo>
                <a:lnTo>
                  <a:pt x="5764894" y="5645288"/>
                </a:lnTo>
                <a:lnTo>
                  <a:pt x="0" y="5645288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8871D4E-8962-41E4-B7BC-D6881361F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3AB3759-2ABA-419B-8B4A-9D837809ED6D}"/>
              </a:ext>
            </a:extLst>
          </p:cNvPr>
          <p:cNvCxnSpPr/>
          <p:nvPr userDrawn="1"/>
        </p:nvCxnSpPr>
        <p:spPr>
          <a:xfrm>
            <a:off x="442800" y="3214819"/>
            <a:ext cx="4932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34">
            <a:extLst>
              <a:ext uri="{FF2B5EF4-FFF2-40B4-BE49-F238E27FC236}">
                <a16:creationId xmlns:a16="http://schemas.microsoft.com/office/drawing/2014/main" id="{60D24665-7834-4CC0-8EA5-C724896E98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442800" y="3565604"/>
            <a:ext cx="2810216" cy="1168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2A88DD9-1E9D-4979-91FB-355894EC6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D8CA00-0351-4439-80FC-0A747C09242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15" name="Freeform: Shape 38">
            <a:extLst>
              <a:ext uri="{FF2B5EF4-FFF2-40B4-BE49-F238E27FC236}">
                <a16:creationId xmlns:a16="http://schemas.microsoft.com/office/drawing/2014/main" id="{D7F1981D-B15C-4509-BD6A-04D49D3FAFB5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20">
            <a:extLst>
              <a:ext uri="{FF2B5EF4-FFF2-40B4-BE49-F238E27FC236}">
                <a16:creationId xmlns:a16="http://schemas.microsoft.com/office/drawing/2014/main" id="{3F6CD97A-AEFF-4042-B3F6-70888095713D}"/>
              </a:ext>
            </a:extLst>
          </p:cNvPr>
          <p:cNvSpPr/>
          <p:nvPr userDrawn="1"/>
        </p:nvSpPr>
        <p:spPr>
          <a:xfrm flipH="1">
            <a:off x="8774596" y="4407877"/>
            <a:ext cx="3417404" cy="2450123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119338 w 4913588"/>
              <a:gd name="connsiteY3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2404721 w 4913588"/>
              <a:gd name="connsiteY3" fmla="*/ 2201134 h 2209800"/>
              <a:gd name="connsiteX4" fmla="*/ 119338 w 4913588"/>
              <a:gd name="connsiteY4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2404721 w 4913588"/>
              <a:gd name="connsiteY3" fmla="*/ 2201134 h 2209800"/>
              <a:gd name="connsiteX4" fmla="*/ 2404721 w 4913588"/>
              <a:gd name="connsiteY4" fmla="*/ 2201134 h 2209800"/>
              <a:gd name="connsiteX5" fmla="*/ 119338 w 4913588"/>
              <a:gd name="connsiteY5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4913588 w 4913588"/>
              <a:gd name="connsiteY3" fmla="*/ 2209800 h 2209800"/>
              <a:gd name="connsiteX4" fmla="*/ 2404721 w 4913588"/>
              <a:gd name="connsiteY4" fmla="*/ 2201134 h 2209800"/>
              <a:gd name="connsiteX5" fmla="*/ 2404721 w 4913588"/>
              <a:gd name="connsiteY5" fmla="*/ 2201134 h 2209800"/>
              <a:gd name="connsiteX6" fmla="*/ 119338 w 4913588"/>
              <a:gd name="connsiteY6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4913588 w 4913588"/>
              <a:gd name="connsiteY3" fmla="*/ 2209800 h 2209800"/>
              <a:gd name="connsiteX4" fmla="*/ 2404721 w 4913588"/>
              <a:gd name="connsiteY4" fmla="*/ 2201134 h 2209800"/>
              <a:gd name="connsiteX5" fmla="*/ 2404721 w 4913588"/>
              <a:gd name="connsiteY5" fmla="*/ 2201134 h 2209800"/>
              <a:gd name="connsiteX6" fmla="*/ 119338 w 4913588"/>
              <a:gd name="connsiteY6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2404721 w 4913588"/>
              <a:gd name="connsiteY3" fmla="*/ 398631 h 2209800"/>
              <a:gd name="connsiteX4" fmla="*/ 4913588 w 4913588"/>
              <a:gd name="connsiteY4" fmla="*/ 2209800 h 2209800"/>
              <a:gd name="connsiteX5" fmla="*/ 2404721 w 4913588"/>
              <a:gd name="connsiteY5" fmla="*/ 2201134 h 2209800"/>
              <a:gd name="connsiteX6" fmla="*/ 2404721 w 4913588"/>
              <a:gd name="connsiteY6" fmla="*/ 2201134 h 2209800"/>
              <a:gd name="connsiteX7" fmla="*/ 119338 w 4913588"/>
              <a:gd name="connsiteY7" fmla="*/ 2209800 h 2209800"/>
              <a:gd name="connsiteX0" fmla="*/ 4 w 4794254"/>
              <a:gd name="connsiteY0" fmla="*/ 1811169 h 1811169"/>
              <a:gd name="connsiteX1" fmla="*/ 2268056 w 4794254"/>
              <a:gd name="connsiteY1" fmla="*/ 0 h 1811169"/>
              <a:gd name="connsiteX2" fmla="*/ 2285387 w 4794254"/>
              <a:gd name="connsiteY2" fmla="*/ 0 h 1811169"/>
              <a:gd name="connsiteX3" fmla="*/ 4794254 w 4794254"/>
              <a:gd name="connsiteY3" fmla="*/ 1811169 h 1811169"/>
              <a:gd name="connsiteX4" fmla="*/ 2285387 w 4794254"/>
              <a:gd name="connsiteY4" fmla="*/ 1802503 h 1811169"/>
              <a:gd name="connsiteX5" fmla="*/ 2285387 w 4794254"/>
              <a:gd name="connsiteY5" fmla="*/ 1802503 h 1811169"/>
              <a:gd name="connsiteX6" fmla="*/ 4 w 4794254"/>
              <a:gd name="connsiteY6" fmla="*/ 1811169 h 1811169"/>
              <a:gd name="connsiteX0" fmla="*/ 17331 w 2526198"/>
              <a:gd name="connsiteY0" fmla="*/ 1802503 h 1811169"/>
              <a:gd name="connsiteX1" fmla="*/ 0 w 2526198"/>
              <a:gd name="connsiteY1" fmla="*/ 0 h 1811169"/>
              <a:gd name="connsiteX2" fmla="*/ 17331 w 2526198"/>
              <a:gd name="connsiteY2" fmla="*/ 0 h 1811169"/>
              <a:gd name="connsiteX3" fmla="*/ 2526198 w 2526198"/>
              <a:gd name="connsiteY3" fmla="*/ 1811169 h 1811169"/>
              <a:gd name="connsiteX4" fmla="*/ 17331 w 2526198"/>
              <a:gd name="connsiteY4" fmla="*/ 1802503 h 1811169"/>
              <a:gd name="connsiteX5" fmla="*/ 17331 w 2526198"/>
              <a:gd name="connsiteY5" fmla="*/ 1802503 h 181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6198" h="1811169">
                <a:moveTo>
                  <a:pt x="17331" y="1802503"/>
                </a:moveTo>
                <a:lnTo>
                  <a:pt x="0" y="0"/>
                </a:lnTo>
                <a:lnTo>
                  <a:pt x="17331" y="0"/>
                </a:lnTo>
                <a:lnTo>
                  <a:pt x="2526198" y="1811169"/>
                </a:lnTo>
                <a:lnTo>
                  <a:pt x="17331" y="1802503"/>
                </a:lnTo>
                <a:lnTo>
                  <a:pt x="17331" y="1802503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6615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4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95938D1-A43B-478A-AAD9-7A27465603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197EE4D-06D9-6D48-B606-48101EB68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14990" y="0"/>
            <a:ext cx="5724910" cy="6858000"/>
          </a:xfrm>
          <a:custGeom>
            <a:avLst/>
            <a:gdLst>
              <a:gd name="connsiteX0" fmla="*/ 3899193 w 5724910"/>
              <a:gd name="connsiteY0" fmla="*/ 0 h 6858000"/>
              <a:gd name="connsiteX1" fmla="*/ 5724910 w 5724910"/>
              <a:gd name="connsiteY1" fmla="*/ 0 h 6858000"/>
              <a:gd name="connsiteX2" fmla="*/ 5724910 w 5724910"/>
              <a:gd name="connsiteY2" fmla="*/ 4117441 h 6858000"/>
              <a:gd name="connsiteX3" fmla="*/ 1757271 w 5724910"/>
              <a:gd name="connsiteY3" fmla="*/ 6858000 h 6858000"/>
              <a:gd name="connsiteX4" fmla="*/ 0 w 5724910"/>
              <a:gd name="connsiteY4" fmla="*/ 6854510 h 6858000"/>
              <a:gd name="connsiteX5" fmla="*/ 10128 w 5724910"/>
              <a:gd name="connsiteY5" fmla="*/ 270433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24910" h="6858000">
                <a:moveTo>
                  <a:pt x="3899193" y="0"/>
                </a:moveTo>
                <a:lnTo>
                  <a:pt x="5724910" y="0"/>
                </a:lnTo>
                <a:lnTo>
                  <a:pt x="5724910" y="4117441"/>
                </a:lnTo>
                <a:lnTo>
                  <a:pt x="1757271" y="6858000"/>
                </a:lnTo>
                <a:lnTo>
                  <a:pt x="0" y="6854510"/>
                </a:lnTo>
                <a:lnTo>
                  <a:pt x="10128" y="270433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90C636B-5A5D-4399-980F-44E3735BC7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2415" y="2040219"/>
            <a:ext cx="4004632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600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hank you</a:t>
            </a:r>
            <a:endParaRPr lang="en-GB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218638D0-EA79-4658-BBAF-F7CBC3D7A6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42416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8" name="Freeform: Shape 38">
            <a:extLst>
              <a:ext uri="{FF2B5EF4-FFF2-40B4-BE49-F238E27FC236}">
                <a16:creationId xmlns:a16="http://schemas.microsoft.com/office/drawing/2014/main" id="{88DD9336-317D-4740-9853-D4062BAB0838}"/>
              </a:ext>
            </a:extLst>
          </p:cNvPr>
          <p:cNvSpPr/>
          <p:nvPr userDrawn="1"/>
        </p:nvSpPr>
        <p:spPr>
          <a:xfrm>
            <a:off x="1173742" y="4827938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Freeform: Shape 38">
            <a:extLst>
              <a:ext uri="{FF2B5EF4-FFF2-40B4-BE49-F238E27FC236}">
                <a16:creationId xmlns:a16="http://schemas.microsoft.com/office/drawing/2014/main" id="{98B81505-8EBE-43E4-B7C6-0E608556BE6D}"/>
              </a:ext>
            </a:extLst>
          </p:cNvPr>
          <p:cNvSpPr/>
          <p:nvPr userDrawn="1"/>
        </p:nvSpPr>
        <p:spPr>
          <a:xfrm rot="10800000">
            <a:off x="137450" y="1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0"/>
                </a:schemeClr>
              </a:gs>
              <a:gs pos="74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0690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Poin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371600"/>
            <a:ext cx="11277600" cy="3892551"/>
          </a:xfrm>
          <a:prstGeom prst="rect">
            <a:avLst/>
          </a:prstGeom>
        </p:spPr>
        <p:txBody>
          <a:bodyPr lIns="0" anchor="t"/>
          <a:lstStyle>
            <a:lvl1pPr marL="285750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F545F"/>
              </a:buClr>
              <a:buFont typeface="Wingdings" panose="05000000000000000000" pitchFamily="2" charset="2"/>
              <a:buChar char="§"/>
              <a:defRPr sz="1600">
                <a:solidFill>
                  <a:srgbClr val="06316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ts val="600"/>
              </a:spcBef>
              <a:spcAft>
                <a:spcPts val="600"/>
              </a:spcAft>
              <a:buClr>
                <a:srgbClr val="EA3946"/>
              </a:buClr>
              <a:buFont typeface="Arial" panose="020B0604020202020204" pitchFamily="34" charset="0"/>
              <a:buChar char="•"/>
              <a:defRPr sz="1600">
                <a:solidFill>
                  <a:srgbClr val="063161"/>
                </a:solidFill>
              </a:defRPr>
            </a:lvl2pPr>
            <a:lvl3pPr marL="1200150" indent="-28575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Georgia" panose="02040502050405020303" pitchFamily="18" charset="0"/>
              <a:buChar char="─"/>
              <a:defRPr sz="1200">
                <a:solidFill>
                  <a:srgbClr val="063161"/>
                </a:solidFill>
              </a:defRPr>
            </a:lvl3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</a:t>
            </a:r>
          </a:p>
          <a:p>
            <a:pPr lvl="1"/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perspiciatis</a:t>
            </a:r>
            <a:r>
              <a:rPr lang="en-US"/>
              <a:t> </a:t>
            </a:r>
            <a:r>
              <a:rPr lang="en-US" err="1"/>
              <a:t>unde</a:t>
            </a:r>
            <a:r>
              <a:rPr lang="en-US"/>
              <a:t> </a:t>
            </a:r>
            <a:r>
              <a:rPr lang="en-US" err="1"/>
              <a:t>omnis</a:t>
            </a:r>
            <a:r>
              <a:rPr lang="en-US"/>
              <a:t> </a:t>
            </a:r>
            <a:r>
              <a:rPr lang="en-US" err="1"/>
              <a:t>iste</a:t>
            </a:r>
            <a:r>
              <a:rPr lang="en-US"/>
              <a:t> </a:t>
            </a:r>
            <a:r>
              <a:rPr lang="en-US" err="1"/>
              <a:t>natus</a:t>
            </a:r>
            <a:r>
              <a:rPr lang="en-US"/>
              <a:t> error sit </a:t>
            </a:r>
            <a:r>
              <a:rPr lang="en-US" err="1"/>
              <a:t>voluptatem</a:t>
            </a:r>
            <a:r>
              <a:rPr lang="en-US"/>
              <a:t> </a:t>
            </a:r>
            <a:r>
              <a:rPr lang="en-US" err="1"/>
              <a:t>accusantium</a:t>
            </a:r>
            <a:r>
              <a:rPr lang="en-US"/>
              <a:t> </a:t>
            </a:r>
            <a:r>
              <a:rPr lang="en-US" err="1"/>
              <a:t>doloremque</a:t>
            </a:r>
            <a:r>
              <a:rPr lang="en-US"/>
              <a:t> </a:t>
            </a:r>
            <a:r>
              <a:rPr lang="en-US" err="1"/>
              <a:t>laudantium</a:t>
            </a:r>
            <a:r>
              <a:rPr lang="en-US"/>
              <a:t>.</a:t>
            </a:r>
          </a:p>
          <a:p>
            <a:pPr lvl="2"/>
            <a:r>
              <a:rPr lang="en-US" err="1"/>
              <a:t>Totam</a:t>
            </a:r>
            <a:r>
              <a:rPr lang="en-US"/>
              <a:t> rem </a:t>
            </a:r>
            <a:r>
              <a:rPr lang="en-US" err="1"/>
              <a:t>aperiam</a:t>
            </a:r>
            <a:r>
              <a:rPr lang="en-US"/>
              <a:t>, </a:t>
            </a:r>
            <a:r>
              <a:rPr lang="en-US" err="1"/>
              <a:t>eaque</a:t>
            </a:r>
            <a:r>
              <a:rPr lang="en-US"/>
              <a:t> </a:t>
            </a:r>
            <a:r>
              <a:rPr lang="en-US" err="1"/>
              <a:t>ipsa</a:t>
            </a:r>
            <a:r>
              <a:rPr lang="en-US"/>
              <a:t> quae ab </a:t>
            </a:r>
            <a:r>
              <a:rPr lang="en-US" err="1"/>
              <a:t>illo</a:t>
            </a:r>
            <a:r>
              <a:rPr lang="en-US"/>
              <a:t> </a:t>
            </a:r>
            <a:r>
              <a:rPr lang="en-US" err="1"/>
              <a:t>inventore</a:t>
            </a:r>
            <a:r>
              <a:rPr lang="en-US"/>
              <a:t> </a:t>
            </a:r>
            <a:r>
              <a:rPr lang="en-US" err="1"/>
              <a:t>veritatis</a:t>
            </a:r>
            <a:r>
              <a:rPr lang="en-US"/>
              <a:t> et quasi </a:t>
            </a:r>
            <a:r>
              <a:rPr lang="en-US" err="1"/>
              <a:t>architecto</a:t>
            </a:r>
            <a:r>
              <a:rPr lang="en-US"/>
              <a:t> </a:t>
            </a:r>
            <a:r>
              <a:rPr lang="en-US" err="1"/>
              <a:t>beatae</a:t>
            </a:r>
            <a:r>
              <a:rPr lang="en-US"/>
              <a:t> vitae dicta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explicabo</a:t>
            </a:r>
            <a:r>
              <a:rPr lang="en-US"/>
              <a:t>. Nemo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ipsam</a:t>
            </a:r>
            <a:r>
              <a:rPr lang="en-US"/>
              <a:t> </a:t>
            </a:r>
            <a:r>
              <a:rPr lang="en-US" err="1"/>
              <a:t>voluptatem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voluptas</a:t>
            </a:r>
            <a:r>
              <a:rPr lang="en-US"/>
              <a:t> sit </a:t>
            </a:r>
            <a:r>
              <a:rPr lang="en-US" err="1"/>
              <a:t>aspernatur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odi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fugit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consequuntur</a:t>
            </a:r>
            <a:r>
              <a:rPr lang="en-US"/>
              <a:t> </a:t>
            </a:r>
            <a:r>
              <a:rPr lang="en-US" err="1"/>
              <a:t>magni</a:t>
            </a:r>
            <a:r>
              <a:rPr lang="en-US"/>
              <a:t> </a:t>
            </a:r>
            <a:r>
              <a:rPr lang="en-US" err="1"/>
              <a:t>dolores</a:t>
            </a:r>
            <a:r>
              <a:rPr lang="en-US"/>
              <a:t> </a:t>
            </a:r>
            <a:r>
              <a:rPr lang="en-US" err="1"/>
              <a:t>eos</a:t>
            </a:r>
            <a:endParaRPr lang="en-US"/>
          </a:p>
          <a:p>
            <a:pPr lvl="0"/>
            <a:r>
              <a:rPr lang="en-US"/>
              <a:t>Qui </a:t>
            </a:r>
            <a:r>
              <a:rPr lang="en-US" err="1"/>
              <a:t>ratione</a:t>
            </a:r>
            <a:r>
              <a:rPr lang="en-US"/>
              <a:t> </a:t>
            </a:r>
            <a:r>
              <a:rPr lang="en-US" err="1"/>
              <a:t>voluptatem</a:t>
            </a:r>
            <a:r>
              <a:rPr lang="en-US"/>
              <a:t> </a:t>
            </a:r>
            <a:r>
              <a:rPr lang="en-US" err="1"/>
              <a:t>sequi</a:t>
            </a:r>
            <a:r>
              <a:rPr lang="en-US"/>
              <a:t> </a:t>
            </a:r>
            <a:r>
              <a:rPr lang="en-US" err="1"/>
              <a:t>nesciunt</a:t>
            </a:r>
            <a:r>
              <a:rPr lang="en-US"/>
              <a:t>. </a:t>
            </a:r>
            <a:r>
              <a:rPr lang="en-US" err="1"/>
              <a:t>Neque</a:t>
            </a:r>
            <a:r>
              <a:rPr lang="en-US"/>
              <a:t> </a:t>
            </a:r>
            <a:r>
              <a:rPr lang="en-US" err="1"/>
              <a:t>porro</a:t>
            </a:r>
            <a:r>
              <a:rPr lang="en-US"/>
              <a:t> </a:t>
            </a:r>
            <a:r>
              <a:rPr lang="en-US" err="1"/>
              <a:t>quisquam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dolorem</a:t>
            </a:r>
            <a:r>
              <a:rPr lang="en-US"/>
              <a:t> ipsum </a:t>
            </a:r>
            <a:r>
              <a:rPr lang="en-US" err="1"/>
              <a:t>quia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adipisci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non </a:t>
            </a:r>
            <a:r>
              <a:rPr lang="en-US" err="1"/>
              <a:t>numquam</a:t>
            </a:r>
            <a:r>
              <a:rPr lang="en-US"/>
              <a:t> </a:t>
            </a:r>
            <a:r>
              <a:rPr lang="en-US" err="1"/>
              <a:t>eius</a:t>
            </a:r>
            <a:r>
              <a:rPr lang="en-US"/>
              <a:t> </a:t>
            </a:r>
            <a:r>
              <a:rPr lang="en-US" err="1"/>
              <a:t>modi</a:t>
            </a:r>
            <a:r>
              <a:rPr lang="en-US"/>
              <a:t> </a:t>
            </a:r>
            <a:r>
              <a:rPr lang="en-US" err="1"/>
              <a:t>tempora</a:t>
            </a:r>
            <a:r>
              <a:rPr lang="en-US"/>
              <a:t> </a:t>
            </a:r>
            <a:r>
              <a:rPr lang="en-US" err="1"/>
              <a:t>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magnam</a:t>
            </a:r>
            <a:r>
              <a:rPr lang="en-US"/>
              <a:t>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quaerat</a:t>
            </a:r>
            <a:r>
              <a:rPr lang="en-US"/>
              <a:t> </a:t>
            </a:r>
            <a:r>
              <a:rPr lang="en-US" err="1"/>
              <a:t>voluptatem</a:t>
            </a:r>
            <a:r>
              <a:rPr lang="en-US"/>
              <a:t>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285110E-A93C-E24B-BA01-8EFF0EF70079}" type="slidenum">
              <a:rPr lang="en-US" b="1" smtClean="0">
                <a:solidFill>
                  <a:srgbClr val="073262"/>
                </a:solidFill>
                <a:latin typeface="Georgi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b="1">
              <a:solidFill>
                <a:srgbClr val="073262"/>
              </a:solidFill>
              <a:latin typeface="Georgia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73262"/>
                </a:solidFill>
                <a:latin typeface="Georgia"/>
                <a:ea typeface="Georgia" charset="0"/>
                <a:cs typeface="Georgia" charset="0"/>
              </a:rPr>
              <a:t>© 2019 Copyright Genpact. All Rights Reserved.</a:t>
            </a:r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60744" y="471715"/>
            <a:ext cx="7235456" cy="533400"/>
          </a:xfrm>
          <a:prstGeom prst="rect">
            <a:avLst/>
          </a:prstGeom>
        </p:spPr>
        <p:txBody>
          <a:bodyPr lIns="0" anchor="ctr"/>
          <a:lstStyle>
            <a:lvl1pPr>
              <a:defRPr sz="30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ntent slide title goes her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4219" y="6463445"/>
            <a:ext cx="838200" cy="308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94192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  <p15:guide id="2" pos="7392">
          <p15:clr>
            <a:srgbClr val="FBAE40"/>
          </p15:clr>
        </p15:guide>
        <p15:guide id="3" orient="horz" pos="288">
          <p15:clr>
            <a:srgbClr val="FBAE40"/>
          </p15:clr>
        </p15:guide>
        <p15:guide id="4" orient="horz" pos="4032">
          <p15:clr>
            <a:srgbClr val="FBAE4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Poin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77575" y="6462131"/>
            <a:ext cx="798306" cy="293749"/>
          </a:xfrm>
          <a:prstGeom prst="rect">
            <a:avLst/>
          </a:prstGeom>
        </p:spPr>
      </p:pic>
      <p:sp>
        <p:nvSpPr>
          <p:cNvPr id="3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233590"/>
            <a:ext cx="11277600" cy="533400"/>
          </a:xfrm>
          <a:prstGeom prst="rect">
            <a:avLst/>
          </a:prstGeom>
        </p:spPr>
        <p:txBody>
          <a:bodyPr lIns="0" rIns="0" anchor="t"/>
          <a:lstStyle>
            <a:lvl1pPr>
              <a:defRPr sz="26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ntent slide title goes he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C20AE89-4873-47A2-ADB5-D20145118335}"/>
              </a:ext>
            </a:extLst>
          </p:cNvPr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21 Copyright Genpact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8532C-F125-4B06-87C0-E2D754E5EBF9}"/>
              </a:ext>
            </a:extLst>
          </p:cNvPr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tx1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603726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7392">
          <p15:clr>
            <a:srgbClr val="FBAE40"/>
          </p15:clr>
        </p15:guide>
        <p15:guide id="5" orient="horz" pos="288">
          <p15:clr>
            <a:srgbClr val="FBAE40"/>
          </p15:clr>
        </p15:guide>
        <p15:guide id="6" orient="horz" pos="4032">
          <p15:clr>
            <a:srgbClr val="FBAE4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oin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tx1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71715"/>
            <a:ext cx="11277600" cy="533400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30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ntent slide title goes here</a:t>
            </a:r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976087"/>
            <a:ext cx="11277600" cy="533400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2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tx1"/>
                </a:solidFill>
                <a:latin typeface="+mn-lt"/>
                <a:ea typeface="Georgia" charset="0"/>
                <a:cs typeface="Georgia" charset="0"/>
              </a:rPr>
              <a:t>® 2021 Copyright Genpact. All Rights Reserved.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FAF602A9-DD3C-4252-85E0-54E035051C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4219" y="6463445"/>
            <a:ext cx="838200" cy="308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59783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7392">
          <p15:clr>
            <a:srgbClr val="FBAE40"/>
          </p15:clr>
        </p15:guide>
        <p15:guide id="5" orient="horz" pos="288">
          <p15:clr>
            <a:srgbClr val="FBAE40"/>
          </p15:clr>
        </p15:guide>
        <p15:guide id="6" orient="horz" pos="4032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tx1"/>
                </a:solidFill>
                <a:latin typeface="Calibri" panose="020F0502020204030204" pitchFamily="34" charset="0"/>
                <a:ea typeface="Georgia" charset="0"/>
                <a:cs typeface="Calibri" panose="020F0502020204030204" pitchFamily="34" charset="0"/>
              </a:rPr>
              <a:t>© 2022 Copyright Genpact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59883" y="134815"/>
            <a:ext cx="11299456" cy="533400"/>
          </a:xfrm>
          <a:prstGeom prst="rect">
            <a:avLst/>
          </a:prstGeom>
        </p:spPr>
        <p:txBody>
          <a:bodyPr lIns="0" anchor="t"/>
          <a:lstStyle>
            <a:lvl1pPr>
              <a:defRPr lang="en-US" sz="3000" dirty="0">
                <a:solidFill>
                  <a:srgbClr val="06316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ent slide title goes her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1570154" y="0"/>
            <a:ext cx="619125" cy="654050"/>
            <a:chOff x="11570154" y="0"/>
            <a:chExt cx="619125" cy="654050"/>
          </a:xfrm>
        </p:grpSpPr>
        <p:sp>
          <p:nvSpPr>
            <p:cNvPr id="5" name="Freeform 5"/>
            <p:cNvSpPr>
              <a:spLocks/>
            </p:cNvSpPr>
            <p:nvPr userDrawn="1"/>
          </p:nvSpPr>
          <p:spPr bwMode="auto">
            <a:xfrm>
              <a:off x="11570154" y="0"/>
              <a:ext cx="461963" cy="484188"/>
            </a:xfrm>
            <a:custGeom>
              <a:avLst/>
              <a:gdLst>
                <a:gd name="T0" fmla="*/ 0 w 291"/>
                <a:gd name="T1" fmla="*/ 0 h 305"/>
                <a:gd name="T2" fmla="*/ 105 w 291"/>
                <a:gd name="T3" fmla="*/ 0 h 305"/>
                <a:gd name="T4" fmla="*/ 291 w 291"/>
                <a:gd name="T5" fmla="*/ 305 h 305"/>
                <a:gd name="T6" fmla="*/ 187 w 291"/>
                <a:gd name="T7" fmla="*/ 305 h 305"/>
                <a:gd name="T8" fmla="*/ 0 w 291"/>
                <a:gd name="T9" fmla="*/ 0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1" h="305">
                  <a:moveTo>
                    <a:pt x="0" y="0"/>
                  </a:moveTo>
                  <a:lnTo>
                    <a:pt x="105" y="0"/>
                  </a:lnTo>
                  <a:lnTo>
                    <a:pt x="291" y="305"/>
                  </a:lnTo>
                  <a:lnTo>
                    <a:pt x="187" y="3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11795579" y="0"/>
              <a:ext cx="393700" cy="654050"/>
            </a:xfrm>
            <a:custGeom>
              <a:avLst/>
              <a:gdLst>
                <a:gd name="T0" fmla="*/ 0 w 248"/>
                <a:gd name="T1" fmla="*/ 0 h 412"/>
                <a:gd name="T2" fmla="*/ 172 w 248"/>
                <a:gd name="T3" fmla="*/ 0 h 412"/>
                <a:gd name="T4" fmla="*/ 248 w 248"/>
                <a:gd name="T5" fmla="*/ 128 h 412"/>
                <a:gd name="T6" fmla="*/ 248 w 248"/>
                <a:gd name="T7" fmla="*/ 412 h 412"/>
                <a:gd name="T8" fmla="*/ 0 w 248"/>
                <a:gd name="T9" fmla="*/ 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412">
                  <a:moveTo>
                    <a:pt x="0" y="0"/>
                  </a:moveTo>
                  <a:lnTo>
                    <a:pt x="172" y="0"/>
                  </a:lnTo>
                  <a:lnTo>
                    <a:pt x="248" y="128"/>
                  </a:lnTo>
                  <a:lnTo>
                    <a:pt x="248" y="4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1" name="Freeform 27">
            <a:extLst>
              <a:ext uri="{FF2B5EF4-FFF2-40B4-BE49-F238E27FC236}">
                <a16:creationId xmlns:a16="http://schemas.microsoft.com/office/drawing/2014/main" id="{62A3E6E9-6C77-4B73-AD7B-34059E4CAD38}"/>
              </a:ext>
            </a:extLst>
          </p:cNvPr>
          <p:cNvSpPr/>
          <p:nvPr userDrawn="1"/>
        </p:nvSpPr>
        <p:spPr>
          <a:xfrm flipH="1">
            <a:off x="10804547" y="6511514"/>
            <a:ext cx="45720" cy="212134"/>
          </a:xfrm>
          <a:custGeom>
            <a:avLst/>
            <a:gdLst>
              <a:gd name="connsiteX0" fmla="*/ 0 w 0"/>
              <a:gd name="connsiteY0" fmla="*/ 0 h 368489"/>
              <a:gd name="connsiteX1" fmla="*/ 0 w 0"/>
              <a:gd name="connsiteY1" fmla="*/ 368489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368489">
                <a:moveTo>
                  <a:pt x="0" y="0"/>
                </a:moveTo>
                <a:lnTo>
                  <a:pt x="0" y="368489"/>
                </a:lnTo>
              </a:path>
            </a:pathLst>
          </a:custGeom>
          <a:noFill/>
          <a:ln w="9525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">
            <a:extLst>
              <a:ext uri="{FF2B5EF4-FFF2-40B4-BE49-F238E27FC236}">
                <a16:creationId xmlns:a16="http://schemas.microsoft.com/office/drawing/2014/main" id="{6FDED9D5-8C45-43EE-847C-DBE4498B73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4219" y="6463445"/>
            <a:ext cx="838200" cy="308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92711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92">
          <p15:clr>
            <a:srgbClr val="FBAE40"/>
          </p15:clr>
        </p15:guide>
        <p15:guide id="3" orient="horz" pos="548">
          <p15:clr>
            <a:srgbClr val="FBAE40"/>
          </p15:clr>
        </p15:guide>
        <p15:guide id="4" orient="horz" pos="3975">
          <p15:clr>
            <a:srgbClr val="FBAE40"/>
          </p15:clr>
        </p15:guide>
        <p15:guide id="5" pos="283">
          <p15:clr>
            <a:srgbClr val="FBAE40"/>
          </p15:clr>
        </p15:guide>
        <p15:guide id="6" orient="horz" pos="878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ADBF1773-246E-4C31-9EA7-4FD8C7D51459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FCA5AE9-16F5-49C5-B31D-EEE1E47188C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AA9CFC4A-1CEB-4790-BACF-6EA17DF30D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379C90-D03A-4E69-A2E9-B510124AEE82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5830424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DED17A92-CC0D-4D6E-B587-CAF3EF5514C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3855" y="-11575"/>
            <a:ext cx="12217165" cy="6869575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1875275 w 8131604"/>
              <a:gd name="connsiteY4" fmla="*/ 0 h 6877896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0 h 6877896"/>
              <a:gd name="connsiteX1" fmla="*/ 8537299 w 8537299"/>
              <a:gd name="connsiteY1" fmla="*/ 4343205 h 6877896"/>
              <a:gd name="connsiteX2" fmla="*/ 8534755 w 8537299"/>
              <a:gd name="connsiteY2" fmla="*/ 6877896 h 6877896"/>
              <a:gd name="connsiteX3" fmla="*/ 405695 w 8537299"/>
              <a:gd name="connsiteY3" fmla="*/ 6877896 h 6877896"/>
              <a:gd name="connsiteX4" fmla="*/ 1332935 w 8537299"/>
              <a:gd name="connsiteY4" fmla="*/ 3441969 h 6877896"/>
              <a:gd name="connsiteX5" fmla="*/ 2280970 w 8537299"/>
              <a:gd name="connsiteY5" fmla="*/ 0 h 6877896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927240 w 8131604"/>
              <a:gd name="connsiteY4" fmla="*/ 3441969 h 6877896"/>
              <a:gd name="connsiteX5" fmla="*/ 1875275 w 8131604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0 w 10044545"/>
              <a:gd name="connsiteY4" fmla="*/ 19896 h 6877896"/>
              <a:gd name="connsiteX5" fmla="*/ 3788216 w 10044545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526473 w 10044545"/>
              <a:gd name="connsiteY4" fmla="*/ 1945678 h 6877896"/>
              <a:gd name="connsiteX5" fmla="*/ 0 w 10044545"/>
              <a:gd name="connsiteY5" fmla="*/ 19896 h 6877896"/>
              <a:gd name="connsiteX6" fmla="*/ 3788216 w 10044545"/>
              <a:gd name="connsiteY6" fmla="*/ 0 h 6877896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2687782 w 12205854"/>
              <a:gd name="connsiteY4" fmla="*/ 1945678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13855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43896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96234 h 6987984"/>
              <a:gd name="connsiteX1" fmla="*/ 12205854 w 12217165"/>
              <a:gd name="connsiteY1" fmla="*/ 4439439 h 6987984"/>
              <a:gd name="connsiteX2" fmla="*/ 12217165 w 12217165"/>
              <a:gd name="connsiteY2" fmla="*/ 6987984 h 6987984"/>
              <a:gd name="connsiteX3" fmla="*/ 4074250 w 12217165"/>
              <a:gd name="connsiteY3" fmla="*/ 6974130 h 6987984"/>
              <a:gd name="connsiteX4" fmla="*/ 13855 w 12217165"/>
              <a:gd name="connsiteY4" fmla="*/ 6946421 h 6987984"/>
              <a:gd name="connsiteX5" fmla="*/ 0 w 12217165"/>
              <a:gd name="connsiteY5" fmla="*/ 1612421 h 6987984"/>
              <a:gd name="connsiteX6" fmla="*/ 2161309 w 12217165"/>
              <a:gd name="connsiteY6" fmla="*/ 116130 h 6987984"/>
              <a:gd name="connsiteX7" fmla="*/ 5949525 w 12217165"/>
              <a:gd name="connsiteY7" fmla="*/ 96234 h 6987984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7789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7789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6265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61744 w 12229384"/>
              <a:gd name="connsiteY0" fmla="*/ 0 h 6891750"/>
              <a:gd name="connsiteX1" fmla="*/ 12218073 w 12229384"/>
              <a:gd name="connsiteY1" fmla="*/ 4343205 h 6891750"/>
              <a:gd name="connsiteX2" fmla="*/ 12229384 w 12229384"/>
              <a:gd name="connsiteY2" fmla="*/ 6891750 h 6891750"/>
              <a:gd name="connsiteX3" fmla="*/ 4086469 w 12229384"/>
              <a:gd name="connsiteY3" fmla="*/ 6862656 h 6891750"/>
              <a:gd name="connsiteX4" fmla="*/ 674 w 12229384"/>
              <a:gd name="connsiteY4" fmla="*/ 6860347 h 6891750"/>
              <a:gd name="connsiteX5" fmla="*/ 12219 w 12229384"/>
              <a:gd name="connsiteY5" fmla="*/ 1516187 h 6891750"/>
              <a:gd name="connsiteX6" fmla="*/ 2173528 w 12229384"/>
              <a:gd name="connsiteY6" fmla="*/ 19896 h 6891750"/>
              <a:gd name="connsiteX7" fmla="*/ 5961744 w 12229384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62656 h 6891750"/>
              <a:gd name="connsiteX4" fmla="*/ 8775 w 12217165"/>
              <a:gd name="connsiteY4" fmla="*/ 689082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8775 w 12217165"/>
              <a:gd name="connsiteY3" fmla="*/ 6890827 h 6891750"/>
              <a:gd name="connsiteX4" fmla="*/ 0 w 12217165"/>
              <a:gd name="connsiteY4" fmla="*/ 1516187 h 6891750"/>
              <a:gd name="connsiteX5" fmla="*/ 2161309 w 12217165"/>
              <a:gd name="connsiteY5" fmla="*/ 19896 h 6891750"/>
              <a:gd name="connsiteX6" fmla="*/ 5949525 w 12217165"/>
              <a:gd name="connsiteY6" fmla="*/ 0 h 689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17165" h="6891750">
                <a:moveTo>
                  <a:pt x="5949525" y="0"/>
                </a:moveTo>
                <a:lnTo>
                  <a:pt x="12205854" y="4343205"/>
                </a:lnTo>
                <a:cubicBezTo>
                  <a:pt x="12209624" y="5192720"/>
                  <a:pt x="12213395" y="6042235"/>
                  <a:pt x="12217165" y="6891750"/>
                </a:cubicBezTo>
                <a:lnTo>
                  <a:pt x="8775" y="6890827"/>
                </a:lnTo>
                <a:cubicBezTo>
                  <a:pt x="4157" y="5122063"/>
                  <a:pt x="4618" y="3284951"/>
                  <a:pt x="0" y="1516187"/>
                </a:cubicBezTo>
                <a:lnTo>
                  <a:pt x="2161309" y="19896"/>
                </a:lnTo>
                <a:lnTo>
                  <a:pt x="5949525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4434872"/>
            <a:ext cx="6397626" cy="121859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800" y="2335488"/>
            <a:ext cx="6443999" cy="381000"/>
          </a:xfrm>
          <a:prstGeom prst="rect">
            <a:avLst/>
          </a:prstGeom>
        </p:spPr>
        <p:txBody>
          <a:bodyPr lIns="0" tIns="0" rIns="360000" b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5C7979F-B5FA-491A-9674-811E416D3A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999782"/>
            <a:ext cx="6454310" cy="990000"/>
          </a:xfrm>
        </p:spPr>
        <p:txBody>
          <a:bodyPr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the deck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D4976B8-BC22-4FB2-BECC-2F92BC01DC7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800" y="6480000"/>
            <a:ext cx="2396518" cy="123111"/>
          </a:xfrm>
        </p:spPr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AA631FB-D42E-4C3F-8885-696AF4E9B4B2}"/>
              </a:ext>
            </a:extLst>
          </p:cNvPr>
          <p:cNvSpPr/>
          <p:nvPr userDrawn="1"/>
        </p:nvSpPr>
        <p:spPr>
          <a:xfrm rot="4191016">
            <a:off x="5605571" y="-512551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2B9A1AF-97F2-4951-AD29-661ACC6A1482}"/>
              </a:ext>
            </a:extLst>
          </p:cNvPr>
          <p:cNvSpPr/>
          <p:nvPr userDrawn="1"/>
        </p:nvSpPr>
        <p:spPr>
          <a:xfrm flipH="1">
            <a:off x="9184940" y="2369821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BD8DDAA6-AFDC-48A0-BB6B-AC0E7FCC76A9}"/>
              </a:ext>
            </a:extLst>
          </p:cNvPr>
          <p:cNvSpPr/>
          <p:nvPr userDrawn="1"/>
        </p:nvSpPr>
        <p:spPr>
          <a:xfrm rot="17408984" flipH="1">
            <a:off x="-256184" y="-289497"/>
            <a:ext cx="2647720" cy="2280654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8884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8884" y="724009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1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0373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sz="280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16AAC404-50AD-49DC-8CC0-C9AFE4997C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89C17C-E3C9-4300-878F-674F3FE9EA4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0865656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2" name="Title 3">
            <a:extLst>
              <a:ext uri="{FF2B5EF4-FFF2-40B4-BE49-F238E27FC236}">
                <a16:creationId xmlns:a16="http://schemas.microsoft.com/office/drawing/2014/main" id="{647A549A-FC78-4BF2-8AA4-4CBCED8E7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sz="28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F0A051F-2529-469D-B839-67D614047EC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07D8720-3D60-4190-9DDE-9EDFBA572D3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40B7391-998E-44BB-BB77-DAB3F7DB4F6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405AEB-0FA0-4F4B-A7C1-81C09A14F48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7227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A68EC3-675B-D146-AFC0-70941A935D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E3594EA-9F3A-495F-F8BD-9577900AA3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82933D-EB8F-E6FF-2336-BA28DD33B7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57BD19-B15E-43AB-818B-C7686A7AB879}" type="datetimeFigureOut">
              <a:rPr lang="en-IN" smtClean="0"/>
              <a:t>02-12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C8F939-6E9C-DEA8-A4A3-B1F27FE61A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69B41A-09B5-8755-17E9-E89157D5EA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52D492-BB9E-4624-8BF0-E4F1F38D7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8297841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070440-83B7-F598-354F-929D43AA83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7B0CFD-1782-5921-150A-96A04DE397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00409D-25AB-FC1C-8635-AA5240246F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57BD19-B15E-43AB-818B-C7686A7AB879}" type="datetimeFigureOut">
              <a:rPr lang="en-IN" smtClean="0"/>
              <a:t>02-12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E0C7B7-0074-2945-DF17-CBC61A4B6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0394BE-D252-DB8D-CF31-EC022EE79A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52D492-BB9E-4624-8BF0-E4F1F38D7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063363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6EC581-A5F1-6A27-5829-C7D7F7017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8E3E60-1641-C0DA-FCFE-249AD19A2E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F1577F-E414-1742-329C-98093CD77E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57BD19-B15E-43AB-818B-C7686A7AB879}" type="datetimeFigureOut">
              <a:rPr lang="en-IN" smtClean="0"/>
              <a:t>02-12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0E4E66-54E0-9FCA-25BF-BDF6E8C52D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B05D23-9B93-2EBB-D3B7-C766434695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52D492-BB9E-4624-8BF0-E4F1F38D7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2932378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1F411A-7CF4-45C4-B5EC-33EAA9B1C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9643CF-C706-F88F-0ABC-77C8C63DCFC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F3D0E2C-423F-B5A7-56A0-CE97FD09DE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246BBE-84F6-3029-A4B6-9FB3227668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57BD19-B15E-43AB-818B-C7686A7AB879}" type="datetimeFigureOut">
              <a:rPr lang="en-IN" smtClean="0"/>
              <a:t>02-12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8734BC-24CF-4E77-65DE-4A002039C4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32EB472-187A-FFC2-27CD-90AAAC33DA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52D492-BB9E-4624-8BF0-E4F1F38D7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01244897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B981D7-CDE7-D37E-5756-31EE15C0ED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F5C6DA-E6C2-E170-CB88-FCF031FAA0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9BB61AD-747C-FB97-742F-627065F08E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11765DF-9409-949C-0CCF-C919154BB5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19C2926-9437-A275-E3ED-945CD82658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3E0589B-8391-1D75-D43E-3774EACD05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57BD19-B15E-43AB-818B-C7686A7AB879}" type="datetimeFigureOut">
              <a:rPr lang="en-IN" smtClean="0"/>
              <a:t>02-12-2022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7AE890-7E2F-2F5F-6EEA-93FF0E7B40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60DCBB9-069D-10FD-A9F9-BD8EEF55B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52D492-BB9E-4624-8BF0-E4F1F38D7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5786263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BEE9EF-BF6A-6544-2A0E-FC29065693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5A36F34-C1A1-FB4A-6B7D-5A093D963F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57BD19-B15E-43AB-818B-C7686A7AB879}" type="datetimeFigureOut">
              <a:rPr lang="en-IN" smtClean="0"/>
              <a:t>02-12-2022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FC2DAC-F72F-D85F-176D-3BF5FBB720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C3B1FD-E0A9-8B89-27F1-1E376C2DE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52D492-BB9E-4624-8BF0-E4F1F38D7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3802206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C781079-71E8-CA1C-0D69-66E973E4E7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57BD19-B15E-43AB-818B-C7686A7AB879}" type="datetimeFigureOut">
              <a:rPr lang="en-IN" smtClean="0"/>
              <a:t>02-12-2022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C69E460-BF20-D160-8092-E7F2BA6205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6C6989-CC7D-958D-3F47-4828F2E200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52D492-BB9E-4624-8BF0-E4F1F38D7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9214734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58C69F-A728-A59E-22A7-0061FB6E01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CE3FEB-37A7-3788-B872-B986EBDEBA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AAEDE4-958B-AB9B-E425-ED3D1E5E37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40C7D3-6F63-7F62-C7C6-65C437AAFC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57BD19-B15E-43AB-818B-C7686A7AB879}" type="datetimeFigureOut">
              <a:rPr lang="en-IN" smtClean="0"/>
              <a:t>02-12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C94AF1-88E9-EECE-96CC-C3B4A352EB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8D7B38-852A-052E-7382-69A1BDE45D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52D492-BB9E-4624-8BF0-E4F1F38D7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967936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946212-4819-8D2E-2BE7-F6C756FE76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08ECDB-7A0A-97A4-4129-F9F04E3D0C6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68AA16-7FA8-813E-0EAB-0AE1E47FF5D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5694A6-5E4A-574C-1477-BAA3EFBAC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57BD19-B15E-43AB-818B-C7686A7AB879}" type="datetimeFigureOut">
              <a:rPr lang="en-IN" smtClean="0"/>
              <a:t>02-12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E3294B-2743-2827-94D8-8CE287D3F2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468FC4-E7C9-E7D8-B4E3-83CB6FDFD8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52D492-BB9E-4624-8BF0-E4F1F38D7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398820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F69E03D5-567B-4B07-A3E5-6CE33427C21E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4581D52-5A11-4CEF-A19A-C47F763A7B43}"/>
              </a:ext>
            </a:extLst>
          </p:cNvPr>
          <p:cNvSpPr/>
          <p:nvPr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1"/>
              </a:gs>
              <a:gs pos="98000">
                <a:srgbClr val="073262"/>
              </a:gs>
              <a:gs pos="33000">
                <a:schemeClr val="accent2"/>
              </a:gs>
              <a:gs pos="0">
                <a:srgbClr val="073262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800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3728C49-8B97-44DE-B314-372422AECD1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9C4AAAD0-4193-42FD-A688-B0CD9CED6745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E2A8F19F-DE6E-4F6F-B1FB-F82B517C4553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71EA3C23-FE46-4BD5-AC99-6025EBCE08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4766BF9-5F7D-49F6-81BD-0B4EBA1BC190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39C241-A37E-4FB1-AB6F-5454AC48439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42799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B9B68F2-D439-4594-AC54-2D97003187A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370799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49A707FB-2749-4A62-9BFA-375267A10C6A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98799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4">
            <a:extLst>
              <a:ext uri="{FF2B5EF4-FFF2-40B4-BE49-F238E27FC236}">
                <a16:creationId xmlns:a16="http://schemas.microsoft.com/office/drawing/2014/main" id="{D3ACC19A-B912-4B59-B8C0-B7B50203303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226798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42769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9AFFD1-9E62-A591-6F71-61B6D1B33C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2E650D-2F71-8EDA-A451-052BEC1C4F0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5A4C9A-B57D-3085-90C6-3DCADB6B51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57BD19-B15E-43AB-818B-C7686A7AB879}" type="datetimeFigureOut">
              <a:rPr lang="en-IN" smtClean="0"/>
              <a:t>02-12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07FD27-B3C5-11D9-443E-973E545360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64F05B-4A33-5F75-B0D6-76C7B1DBB8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52D492-BB9E-4624-8BF0-E4F1F38D7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66260180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3735CA2-CAA9-A315-A195-DA70F0FAE9A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EA679BA-EE90-0C40-A062-296C20D3245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E0AA22-4965-F419-6012-8905B14A8C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57BD19-B15E-43AB-818B-C7686A7AB879}" type="datetimeFigureOut">
              <a:rPr lang="en-IN" smtClean="0"/>
              <a:t>02-12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6FA219-480E-1E76-0583-A46EC3EAF1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3393C7-7381-5913-EE07-5FB936F20E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52D492-BB9E-4624-8BF0-E4F1F38D7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3990440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oin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tx1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71715"/>
            <a:ext cx="11277600" cy="533400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30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ntent slide title goes here</a:t>
            </a:r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976087"/>
            <a:ext cx="11277600" cy="533400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2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 dirty="0">
                <a:solidFill>
                  <a:schemeClr val="tx1"/>
                </a:solidFill>
                <a:latin typeface="+mn-lt"/>
                <a:ea typeface="Georgia" charset="0"/>
                <a:cs typeface="Georgia" charset="0"/>
              </a:rPr>
              <a:t>© 2022 Copyright Genpact. All Rights Reserved.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FAF602A9-DD3C-4252-85E0-54E035051C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94219" y="6463445"/>
            <a:ext cx="838200" cy="308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29523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7392">
          <p15:clr>
            <a:srgbClr val="FBAE40"/>
          </p15:clr>
        </p15:guide>
        <p15:guide id="5" orient="horz" pos="288">
          <p15:clr>
            <a:srgbClr val="FBAE40"/>
          </p15:clr>
        </p15:guide>
        <p15:guide id="6" orient="horz" pos="403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E31D0D1B-F029-4724-91D9-7B2EC70CC70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16AAC404-50AD-49DC-8CC0-C9AFE4997C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89C17C-E3C9-4300-878F-674F3FE9EA4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1360925D-64BD-4B3C-8A81-8518ADDBB2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42799" y="4412359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20383EBB-A0B3-47F7-87D6-8932F29B6F8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48799" y="4412359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390A7376-F8D9-485E-ACF1-C6D581D91DF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254798" y="4412359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96462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Objec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E24698DA-4B02-4E60-99E2-B768DD7EF604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4910E85-A840-A34D-ACA6-7D1ECD49672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33661B-FDB1-4FD2-AA10-7509875192F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56BE9C3-9D24-4D01-BA4D-BF75A9D51FE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C100CA-D516-42FC-BC3F-FAC2BD900CA3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6DCDD012-C59E-408C-9BC6-87284E8CBC48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46798" y="2249827"/>
            <a:ext cx="5400000" cy="3096000"/>
          </a:xfrm>
          <a:prstGeom prst="rect">
            <a:avLst/>
          </a:prstGeom>
        </p:spPr>
        <p:txBody>
          <a:bodyPr anchor="ctr" anchorCtr="0"/>
          <a:lstStyle>
            <a:lvl1pPr algn="ctr"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CBDA8CD-2DCF-4C62-A004-4DB05419240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46798" y="5448612"/>
            <a:ext cx="5400000" cy="68921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2pPr>
            <a:lvl3pPr marL="269875" indent="-269875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  <a:defRPr sz="1400">
                <a:solidFill>
                  <a:schemeClr val="tx2"/>
                </a:solidFill>
              </a:defRPr>
            </a:lvl3pPr>
            <a:lvl4pPr marL="503238" indent="-233363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</a:defRPr>
            </a:lvl4pPr>
            <a:lvl5pPr marL="717550" indent="-193675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defRPr lang="en-GB" sz="105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insert chart commentar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64264AD-E771-4AD5-B1EE-AD1A80E2730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6DA62B6-9735-4EA3-AD07-FF34EF82BD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7AC1B6-E17D-439D-A681-3E7005DA409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B988B8B-FFD1-4F96-AC27-37F2C24F27E1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42799" y="2249827"/>
            <a:ext cx="540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8298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F8F71B2-5038-4A52-B268-EFEFC6FA962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Table Placeholder 2">
            <a:extLst>
              <a:ext uri="{FF2B5EF4-FFF2-40B4-BE49-F238E27FC236}">
                <a16:creationId xmlns:a16="http://schemas.microsoft.com/office/drawing/2014/main" id="{B0D006F0-61D9-476E-AD83-77162C97648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42799" y="2249826"/>
            <a:ext cx="11304000" cy="3888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IN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7F41918F-AEF0-3549-9EA6-E7B6AA50A0F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8A1AF2-E8EC-4AF2-BE91-594808F11BA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039E2CB-9F37-473F-93FB-D42BBF5BAAA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D7842F8-F35D-4368-B212-80696337494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4B9BE4BA-75D7-4854-BDC1-5F8B838545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8BC242-7955-47DB-A884-23F7B8DC8A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4501023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F8F71B2-5038-4A52-B268-EFEFC6FA962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7F41918F-AEF0-3549-9EA6-E7B6AA50A0F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8A1AF2-E8EC-4AF2-BE91-594808F11BA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039E2CB-9F37-473F-93FB-D42BBF5BAAA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D7842F8-F35D-4368-B212-80696337494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4B9BE4BA-75D7-4854-BDC1-5F8B838545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8BC242-7955-47DB-A884-23F7B8DC8A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C54E401-1D0D-436B-85F4-4704AD03A9E8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42799" y="2249826"/>
            <a:ext cx="11304000" cy="388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8955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/ Cor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FE41B66-E82D-4657-A737-E4FA8AC65A18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D9AC699-128E-45D5-B4BD-EAC43A48A49E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272390D-159B-4196-85C8-AA23F030744B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C6685164-D677-427B-80C8-FE067C72B49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7020BA19-38E8-4FDA-B53A-16F1C13492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BAFA92-4783-4C5A-8253-6644BF0A1D2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1599044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ADBF1773-246E-4C31-9EA7-4FD8C7D51459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FCA5AE9-16F5-49C5-B31D-EEE1E47188C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AA9CFC4A-1CEB-4790-BACF-6EA17DF30D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379C90-D03A-4E69-A2E9-B510124AEE82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7643103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m 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D9ABB7B-8CFC-469E-87BB-9D57F55E131D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E369FB11-7907-467F-8696-2250886D64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975645" y="2852103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endParaRPr lang="en-US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3431397E-CA6D-447B-89CE-7141F152235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913" y="2852103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481F11-552E-4AC1-B90D-84C47A0F5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913" y="2232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From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904BCC42-990A-4C9D-B509-29DF24C802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51600" y="2196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To</a:t>
            </a:r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DF459731-1012-4F51-AB8C-A81255FA384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69592" y="4016631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endParaRPr lang="en-US"/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02522068-1D86-4299-A574-347C2821CAF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912" y="4016631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89" name="Text Placeholder 88">
            <a:extLst>
              <a:ext uri="{FF2B5EF4-FFF2-40B4-BE49-F238E27FC236}">
                <a16:creationId xmlns:a16="http://schemas.microsoft.com/office/drawing/2014/main" id="{22D0734C-534D-4AAB-B46F-E3DC9C987D3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981700" y="5181159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endParaRPr lang="en-US"/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E3E31F3B-3F47-424E-9E3A-E3D439B3A60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196" y="5181159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D7F8775-4EFF-497B-A127-D347C4E65B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19C3E27-EA49-4C1F-88F7-145D73459B6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5950CD98-A671-4A84-BAA9-FF4FA6646D38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2F17EEC5-3654-468C-B185-1F74B09652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C7B8E5D-5373-4534-B7A6-D90C6CCED9DB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701505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0117C252-9AE2-459C-9692-4C928EFCD04E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977456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977455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sz="14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601033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601033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sz="14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610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8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522804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609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40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8992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5275650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0DE3D9A-5745-456B-8E35-49AEDDA27D34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CB7353E-1508-4EB2-B032-CFE0208BB6B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61DE440B-C47F-416C-8AEC-F66503201D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EC20A41-BC4E-4146-B326-26BC80025289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4809016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ght Triangle 8">
            <a:extLst>
              <a:ext uri="{FF2B5EF4-FFF2-40B4-BE49-F238E27FC236}">
                <a16:creationId xmlns:a16="http://schemas.microsoft.com/office/drawing/2014/main" id="{52F038EE-63DB-4468-A7FF-D4C488C62278}"/>
              </a:ext>
            </a:extLst>
          </p:cNvPr>
          <p:cNvSpPr/>
          <p:nvPr userDrawn="1"/>
        </p:nvSpPr>
        <p:spPr>
          <a:xfrm rot="16200000">
            <a:off x="9386887" y="4069666"/>
            <a:ext cx="2805111" cy="2805111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0C92DC8-8F9B-FD4C-A423-93681EAA05B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4357" y="1202822"/>
            <a:ext cx="8127643" cy="5655179"/>
          </a:xfrm>
          <a:custGeom>
            <a:avLst/>
            <a:gdLst>
              <a:gd name="connsiteX0" fmla="*/ 8127643 w 8127643"/>
              <a:gd name="connsiteY0" fmla="*/ 0 h 5655179"/>
              <a:gd name="connsiteX1" fmla="*/ 8127643 w 8127643"/>
              <a:gd name="connsiteY1" fmla="*/ 4020543 h 5655179"/>
              <a:gd name="connsiteX2" fmla="*/ 5775413 w 8127643"/>
              <a:gd name="connsiteY2" fmla="*/ 5655179 h 5655179"/>
              <a:gd name="connsiteX3" fmla="*/ 0 w 8127643"/>
              <a:gd name="connsiteY3" fmla="*/ 5655179 h 5655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27643" h="5655179">
                <a:moveTo>
                  <a:pt x="8127643" y="0"/>
                </a:moveTo>
                <a:lnTo>
                  <a:pt x="8127643" y="4020543"/>
                </a:lnTo>
                <a:lnTo>
                  <a:pt x="5775413" y="5655179"/>
                </a:lnTo>
                <a:lnTo>
                  <a:pt x="0" y="565517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2376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lang="en-GB" sz="18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  <a:p>
            <a:pPr marL="0" lvl="0" indent="0" algn="ctr">
              <a:buFont typeface="Arial" panose="020B0604020202020204" pitchFamily="34" charset="0"/>
              <a:buNone/>
            </a:pPr>
            <a:endParaRPr lang="en-GB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0324D3F-C030-485A-A8C3-01CA627A791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873B3ECE-66FA-8F4A-9BA4-70589FB28FA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199" y="3281163"/>
            <a:ext cx="6397626" cy="1218593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36A979B9-FB94-CB41-BC9E-B6C559E0F5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7197" y="1233488"/>
            <a:ext cx="6443999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D50170-9A03-4DF0-ADB1-B9E0F3635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00000"/>
            <a:ext cx="6443998" cy="990001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C11DD6-F2E7-4DAD-A8D2-25B1960A815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42800" y="6480000"/>
            <a:ext cx="2396518" cy="123111"/>
          </a:xfrm>
        </p:spPr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3E106C1-E5A4-4F33-AEF9-E4AE65A838B4}"/>
              </a:ext>
            </a:extLst>
          </p:cNvPr>
          <p:cNvSpPr/>
          <p:nvPr userDrawn="1"/>
        </p:nvSpPr>
        <p:spPr>
          <a:xfrm rot="17391976" flipH="1">
            <a:off x="9337917" y="4563796"/>
            <a:ext cx="3055372" cy="2597595"/>
          </a:xfrm>
          <a:custGeom>
            <a:avLst/>
            <a:gdLst>
              <a:gd name="connsiteX0" fmla="*/ 0 w 4662314"/>
              <a:gd name="connsiteY0" fmla="*/ 3205489 h 3391128"/>
              <a:gd name="connsiteX1" fmla="*/ 513768 w 4662314"/>
              <a:gd name="connsiteY1" fmla="*/ 3391128 h 3391128"/>
              <a:gd name="connsiteX2" fmla="*/ 4662314 w 4662314"/>
              <a:gd name="connsiteY2" fmla="*/ 452233 h 3391128"/>
              <a:gd name="connsiteX3" fmla="*/ 4542036 w 4662314"/>
              <a:gd name="connsiteY3" fmla="*/ 0 h 3391128"/>
              <a:gd name="connsiteX0" fmla="*/ 0 w 4662314"/>
              <a:gd name="connsiteY0" fmla="*/ 3205489 h 3683558"/>
              <a:gd name="connsiteX1" fmla="*/ 1543623 w 4662314"/>
              <a:gd name="connsiteY1" fmla="*/ 3683558 h 3683558"/>
              <a:gd name="connsiteX2" fmla="*/ 4662314 w 4662314"/>
              <a:gd name="connsiteY2" fmla="*/ 452233 h 3683558"/>
              <a:gd name="connsiteX3" fmla="*/ 4542036 w 4662314"/>
              <a:gd name="connsiteY3" fmla="*/ 0 h 3683558"/>
              <a:gd name="connsiteX4" fmla="*/ 0 w 4662314"/>
              <a:gd name="connsiteY4" fmla="*/ 3205489 h 3683558"/>
              <a:gd name="connsiteX0" fmla="*/ 0 w 4662314"/>
              <a:gd name="connsiteY0" fmla="*/ 3205489 h 3744923"/>
              <a:gd name="connsiteX1" fmla="*/ 1586816 w 4662314"/>
              <a:gd name="connsiteY1" fmla="*/ 3744922 h 3744923"/>
              <a:gd name="connsiteX2" fmla="*/ 4662314 w 4662314"/>
              <a:gd name="connsiteY2" fmla="*/ 452233 h 3744923"/>
              <a:gd name="connsiteX3" fmla="*/ 4542036 w 4662314"/>
              <a:gd name="connsiteY3" fmla="*/ 0 h 3744923"/>
              <a:gd name="connsiteX4" fmla="*/ 0 w 4662314"/>
              <a:gd name="connsiteY4" fmla="*/ 3205489 h 3744923"/>
              <a:gd name="connsiteX0" fmla="*/ 0 w 4542036"/>
              <a:gd name="connsiteY0" fmla="*/ 3205489 h 3744922"/>
              <a:gd name="connsiteX1" fmla="*/ 1586816 w 4542036"/>
              <a:gd name="connsiteY1" fmla="*/ 3744922 h 3744922"/>
              <a:gd name="connsiteX2" fmla="*/ 3838762 w 4542036"/>
              <a:gd name="connsiteY2" fmla="*/ 2176681 h 3744922"/>
              <a:gd name="connsiteX3" fmla="*/ 4542036 w 4542036"/>
              <a:gd name="connsiteY3" fmla="*/ 0 h 3744922"/>
              <a:gd name="connsiteX4" fmla="*/ 0 w 4542036"/>
              <a:gd name="connsiteY4" fmla="*/ 3205489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838114 w 4541388"/>
              <a:gd name="connsiteY2" fmla="*/ 2176681 h 3744922"/>
              <a:gd name="connsiteX3" fmla="*/ 4541388 w 4541388"/>
              <a:gd name="connsiteY3" fmla="*/ 0 h 3744922"/>
              <a:gd name="connsiteX4" fmla="*/ 0 w 4541388"/>
              <a:gd name="connsiteY4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3838114 w 4541388"/>
              <a:gd name="connsiteY3" fmla="*/ 2176681 h 3744922"/>
              <a:gd name="connsiteX4" fmla="*/ 4541388 w 4541388"/>
              <a:gd name="connsiteY4" fmla="*/ 0 h 3744922"/>
              <a:gd name="connsiteX5" fmla="*/ 0 w 4541388"/>
              <a:gd name="connsiteY5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3838114 w 4541388"/>
              <a:gd name="connsiteY3" fmla="*/ 2176681 h 3744922"/>
              <a:gd name="connsiteX4" fmla="*/ 4541388 w 4541388"/>
              <a:gd name="connsiteY4" fmla="*/ 0 h 3744922"/>
              <a:gd name="connsiteX5" fmla="*/ 3906986 w 4541388"/>
              <a:gd name="connsiteY5" fmla="*/ 418650 h 3744922"/>
              <a:gd name="connsiteX6" fmla="*/ 0 w 4541388"/>
              <a:gd name="connsiteY6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4541388 w 4541388"/>
              <a:gd name="connsiteY3" fmla="*/ 0 h 3744922"/>
              <a:gd name="connsiteX4" fmla="*/ 3906986 w 4541388"/>
              <a:gd name="connsiteY4" fmla="*/ 418650 h 3744922"/>
              <a:gd name="connsiteX5" fmla="*/ 0 w 4541388"/>
              <a:gd name="connsiteY5" fmla="*/ 3179576 h 3744922"/>
              <a:gd name="connsiteX0" fmla="*/ 0 w 3906986"/>
              <a:gd name="connsiteY0" fmla="*/ 2760926 h 3326272"/>
              <a:gd name="connsiteX1" fmla="*/ 1586168 w 3906986"/>
              <a:gd name="connsiteY1" fmla="*/ 3326272 h 3326272"/>
              <a:gd name="connsiteX2" fmla="*/ 3117387 w 3906986"/>
              <a:gd name="connsiteY2" fmla="*/ 2233505 h 3326272"/>
              <a:gd name="connsiteX3" fmla="*/ 3906986 w 3906986"/>
              <a:gd name="connsiteY3" fmla="*/ 0 h 3326272"/>
              <a:gd name="connsiteX4" fmla="*/ 0 w 3906986"/>
              <a:gd name="connsiteY4" fmla="*/ 2760926 h 3326272"/>
              <a:gd name="connsiteX0" fmla="*/ 0 w 3944041"/>
              <a:gd name="connsiteY0" fmla="*/ 2791114 h 3356460"/>
              <a:gd name="connsiteX1" fmla="*/ 1586168 w 3944041"/>
              <a:gd name="connsiteY1" fmla="*/ 3356460 h 3356460"/>
              <a:gd name="connsiteX2" fmla="*/ 3117387 w 3944041"/>
              <a:gd name="connsiteY2" fmla="*/ 2263693 h 3356460"/>
              <a:gd name="connsiteX3" fmla="*/ 3944041 w 3944041"/>
              <a:gd name="connsiteY3" fmla="*/ 0 h 3356460"/>
              <a:gd name="connsiteX4" fmla="*/ 0 w 3944041"/>
              <a:gd name="connsiteY4" fmla="*/ 2791114 h 3356460"/>
              <a:gd name="connsiteX0" fmla="*/ 0 w 3944041"/>
              <a:gd name="connsiteY0" fmla="*/ 2791114 h 3353118"/>
              <a:gd name="connsiteX1" fmla="*/ 1576917 w 3944041"/>
              <a:gd name="connsiteY1" fmla="*/ 3353118 h 3353118"/>
              <a:gd name="connsiteX2" fmla="*/ 3117387 w 3944041"/>
              <a:gd name="connsiteY2" fmla="*/ 2263693 h 3353118"/>
              <a:gd name="connsiteX3" fmla="*/ 3944041 w 3944041"/>
              <a:gd name="connsiteY3" fmla="*/ 0 h 3353118"/>
              <a:gd name="connsiteX4" fmla="*/ 0 w 3944041"/>
              <a:gd name="connsiteY4" fmla="*/ 2791114 h 3353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4041" h="3353118">
                <a:moveTo>
                  <a:pt x="0" y="2791114"/>
                </a:moveTo>
                <a:lnTo>
                  <a:pt x="1576917" y="3353118"/>
                </a:lnTo>
                <a:lnTo>
                  <a:pt x="3117387" y="2263693"/>
                </a:lnTo>
                <a:lnTo>
                  <a:pt x="3944041" y="0"/>
                </a:lnTo>
                <a:lnTo>
                  <a:pt x="0" y="2791114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3666787-C34F-4060-9C0B-3567CC8D732A}"/>
              </a:ext>
            </a:extLst>
          </p:cNvPr>
          <p:cNvSpPr/>
          <p:nvPr userDrawn="1"/>
        </p:nvSpPr>
        <p:spPr>
          <a:xfrm rot="3299037">
            <a:off x="4967294" y="3363337"/>
            <a:ext cx="1106312" cy="5035605"/>
          </a:xfrm>
          <a:custGeom>
            <a:avLst/>
            <a:gdLst>
              <a:gd name="connsiteX0" fmla="*/ 0 w 1208279"/>
              <a:gd name="connsiteY0" fmla="*/ 444052 h 5841369"/>
              <a:gd name="connsiteX1" fmla="*/ 1208279 w 1208279"/>
              <a:gd name="connsiteY1" fmla="*/ 0 h 5841369"/>
              <a:gd name="connsiteX2" fmla="*/ 1208279 w 1208279"/>
              <a:gd name="connsiteY2" fmla="*/ 4116796 h 5841369"/>
              <a:gd name="connsiteX3" fmla="*/ 0 w 1208279"/>
              <a:gd name="connsiteY3" fmla="*/ 5841369 h 5841369"/>
              <a:gd name="connsiteX0" fmla="*/ 12488 w 1208279"/>
              <a:gd name="connsiteY0" fmla="*/ 290096 h 5841369"/>
              <a:gd name="connsiteX1" fmla="*/ 1208279 w 1208279"/>
              <a:gd name="connsiteY1" fmla="*/ 0 h 5841369"/>
              <a:gd name="connsiteX2" fmla="*/ 1208279 w 1208279"/>
              <a:gd name="connsiteY2" fmla="*/ 4116796 h 5841369"/>
              <a:gd name="connsiteX3" fmla="*/ 0 w 1208279"/>
              <a:gd name="connsiteY3" fmla="*/ 5841369 h 5841369"/>
              <a:gd name="connsiteX4" fmla="*/ 12488 w 1208279"/>
              <a:gd name="connsiteY4" fmla="*/ 290096 h 5841369"/>
              <a:gd name="connsiteX0" fmla="*/ 12488 w 1208279"/>
              <a:gd name="connsiteY0" fmla="*/ 386502 h 5937775"/>
              <a:gd name="connsiteX1" fmla="*/ 1118728 w 1208279"/>
              <a:gd name="connsiteY1" fmla="*/ 0 h 5937775"/>
              <a:gd name="connsiteX2" fmla="*/ 1208279 w 1208279"/>
              <a:gd name="connsiteY2" fmla="*/ 4213202 h 5937775"/>
              <a:gd name="connsiteX3" fmla="*/ 0 w 1208279"/>
              <a:gd name="connsiteY3" fmla="*/ 5937775 h 5937775"/>
              <a:gd name="connsiteX4" fmla="*/ 12488 w 1208279"/>
              <a:gd name="connsiteY4" fmla="*/ 386502 h 5937775"/>
              <a:gd name="connsiteX0" fmla="*/ 12488 w 1118728"/>
              <a:gd name="connsiteY0" fmla="*/ 386502 h 5937775"/>
              <a:gd name="connsiteX1" fmla="*/ 1118728 w 1118728"/>
              <a:gd name="connsiteY1" fmla="*/ 0 h 5937775"/>
              <a:gd name="connsiteX2" fmla="*/ 1098667 w 1118728"/>
              <a:gd name="connsiteY2" fmla="*/ 4377658 h 5937775"/>
              <a:gd name="connsiteX3" fmla="*/ 0 w 1118728"/>
              <a:gd name="connsiteY3" fmla="*/ 5937775 h 5937775"/>
              <a:gd name="connsiteX4" fmla="*/ 12488 w 1118728"/>
              <a:gd name="connsiteY4" fmla="*/ 386502 h 5937775"/>
              <a:gd name="connsiteX0" fmla="*/ 286229 w 1392469"/>
              <a:gd name="connsiteY0" fmla="*/ 386502 h 6395953"/>
              <a:gd name="connsiteX1" fmla="*/ 1392469 w 1392469"/>
              <a:gd name="connsiteY1" fmla="*/ 0 h 6395953"/>
              <a:gd name="connsiteX2" fmla="*/ 1372408 w 1392469"/>
              <a:gd name="connsiteY2" fmla="*/ 4377658 h 6395953"/>
              <a:gd name="connsiteX3" fmla="*/ 0 w 1392469"/>
              <a:gd name="connsiteY3" fmla="*/ 6395953 h 6395953"/>
              <a:gd name="connsiteX4" fmla="*/ 286229 w 1392469"/>
              <a:gd name="connsiteY4" fmla="*/ 386502 h 6395953"/>
              <a:gd name="connsiteX0" fmla="*/ 0 w 1405178"/>
              <a:gd name="connsiteY0" fmla="*/ 425228 h 6395953"/>
              <a:gd name="connsiteX1" fmla="*/ 1405178 w 1405178"/>
              <a:gd name="connsiteY1" fmla="*/ 0 h 6395953"/>
              <a:gd name="connsiteX2" fmla="*/ 1385117 w 1405178"/>
              <a:gd name="connsiteY2" fmla="*/ 4377658 h 6395953"/>
              <a:gd name="connsiteX3" fmla="*/ 12709 w 1405178"/>
              <a:gd name="connsiteY3" fmla="*/ 6395953 h 6395953"/>
              <a:gd name="connsiteX4" fmla="*/ 0 w 1405178"/>
              <a:gd name="connsiteY4" fmla="*/ 425228 h 6395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5178" h="6395953">
                <a:moveTo>
                  <a:pt x="0" y="425228"/>
                </a:moveTo>
                <a:lnTo>
                  <a:pt x="1405178" y="0"/>
                </a:lnTo>
                <a:lnTo>
                  <a:pt x="1385117" y="4377658"/>
                </a:lnTo>
                <a:cubicBezTo>
                  <a:pt x="1018895" y="4897697"/>
                  <a:pt x="378931" y="5875914"/>
                  <a:pt x="12709" y="6395953"/>
                </a:cubicBezTo>
                <a:cubicBezTo>
                  <a:pt x="12709" y="4596847"/>
                  <a:pt x="0" y="2224334"/>
                  <a:pt x="0" y="425228"/>
                </a:cubicBez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79026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D25F7AE7-6644-470A-90CF-47B6F9F313F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530014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530014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27492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27492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Fusce posuere, magna sed pulvinar ultricies, purus lectus malesuada libero, sit amet commodo magna eros quis urna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249702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249702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t</a:t>
            </a:r>
            <a:r>
              <a:rPr lang="en-US"/>
              <a:t>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1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GB" sz="28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36067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481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buNone/>
              <a:defRPr lang="en-US" sz="1200" b="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38589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441111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543633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3E471F1E-DBD6-42B4-BC7F-68658494AEC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C2B1C5B1-DD5C-46BD-9171-3F3551A3196C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4B2A3D8-BFDF-4F41-AF46-F35B3FC27A8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8230483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C73C2D05-90CD-4A84-9996-5A713D7C0452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46442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46441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38376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38375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031084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0309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amet, consectetuer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porttitor congue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lectus </a:t>
            </a:r>
            <a:r>
              <a:rPr lang="en-US" err="1"/>
              <a:t>malesuada</a:t>
            </a:r>
            <a:r>
              <a:rPr lang="en-US"/>
              <a:t> libero, sit amet </a:t>
            </a:r>
            <a:r>
              <a:rPr lang="en-US" err="1"/>
              <a:t>commodo</a:t>
            </a:r>
            <a:r>
              <a:rPr lang="en-US"/>
              <a:t>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2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283225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3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buNone/>
              <a:defRPr sz="120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0898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38964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47030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0" name="Text Placeholder 99">
            <a:extLst>
              <a:ext uri="{FF2B5EF4-FFF2-40B4-BE49-F238E27FC236}">
                <a16:creationId xmlns:a16="http://schemas.microsoft.com/office/drawing/2014/main" id="{F26204A4-94F4-4D0B-A32D-54BA8095E0E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3834" y="5450885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BC8A2927-6011-4622-A038-F2F7EAC093B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891363" y="5450755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9" name="Text Placeholder 6">
            <a:extLst>
              <a:ext uri="{FF2B5EF4-FFF2-40B4-BE49-F238E27FC236}">
                <a16:creationId xmlns:a16="http://schemas.microsoft.com/office/drawing/2014/main" id="{7EA2F73C-E0F4-45B1-AB8F-530A19B4351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6415" y="55096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5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FCE79156-B96F-4F0A-B2E6-29388CAA0C8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95460F8E-68BE-4EED-81CC-C73F28ABEB6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36C93BA-B2DB-45DF-8168-9205478FAB4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5162535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file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80487D53-597F-4F97-AFD7-4642703C2DA0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879880F-2137-47AB-9566-C8A09E1C8E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20775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14CCA4F3-8BB7-4518-8D07-F4EBBBD39F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1955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5A37B0B-0741-485F-996D-2A2215AD59C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1833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DB37BA3-47E7-413A-B0E7-2CD9DCDEE8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817119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0" name="Title 3">
            <a:extLst>
              <a:ext uri="{FF2B5EF4-FFF2-40B4-BE49-F238E27FC236}">
                <a16:creationId xmlns:a16="http://schemas.microsoft.com/office/drawing/2014/main" id="{E38D729D-5227-49D7-9785-1DC1DF806F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EB6EBEF1-2298-410B-9293-C27A9A420B8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EDF3697C-568B-4AA1-9EF3-9113E2541E2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799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20E879FB-0ECA-4094-A26D-0870481E46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41580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CB7EAE9F-C1C2-4E54-947F-1DAF3E582D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40361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A12F1173-5541-4125-8BBE-11308C342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39143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942C6F7-BF76-41F2-9314-4E67256E96B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174E6F3-834D-466B-90E1-E0AC0A9201E5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DD6F617-9647-465D-AF6F-DC346B76746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CB36714-818D-4C9A-A027-DF7559699983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F763012-A5D4-4F14-B146-970A28A8F8C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0233870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6B4F6363-4D60-4208-8FEE-B7F12EDD1C51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33084D-ACDD-6849-8479-977F2DBF36CB}"/>
              </a:ext>
            </a:extLst>
          </p:cNvPr>
          <p:cNvSpPr/>
          <p:nvPr/>
        </p:nvSpPr>
        <p:spPr>
          <a:xfrm rot="5400000">
            <a:off x="5215165" y="-3348040"/>
            <a:ext cx="1759270" cy="11304000"/>
          </a:xfrm>
          <a:prstGeom prst="rect">
            <a:avLst/>
          </a:prstGeom>
          <a:gradFill>
            <a:gsLst>
              <a:gs pos="27000">
                <a:schemeClr val="accent1">
                  <a:alpha val="5000"/>
                </a:schemeClr>
              </a:gs>
              <a:gs pos="90000">
                <a:schemeClr val="accent1">
                  <a:alpha val="5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DF5872F-F6BC-7841-B29A-4A0024AAA7BE}"/>
              </a:ext>
            </a:extLst>
          </p:cNvPr>
          <p:cNvCxnSpPr>
            <a:cxnSpLocks/>
          </p:cNvCxnSpPr>
          <p:nvPr/>
        </p:nvCxnSpPr>
        <p:spPr>
          <a:xfrm>
            <a:off x="466722" y="3166948"/>
            <a:ext cx="11304000" cy="0"/>
          </a:xfrm>
          <a:prstGeom prst="line">
            <a:avLst/>
          </a:prstGeom>
          <a:ln w="22225" cap="sq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0"/>
                  </a:schemeClr>
                </a:gs>
                <a:gs pos="88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E84A35F3-573F-493A-9BB5-CDB1871AE1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442947" y="1779999"/>
            <a:ext cx="3348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1A7CF413-A654-4EB4-B519-46AA63AE393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971045" y="1779999"/>
            <a:ext cx="378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0B4F379B-BC2F-4858-8C07-5C827C0314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31143" y="1779999"/>
            <a:ext cx="180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GB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GB"/>
              <a:t>Text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78E42CAB-23DC-47DC-8ECF-2DEDFC9864A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3605212"/>
            <a:ext cx="3816000" cy="259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 b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428F7AE9-B31F-43B5-8A13-DF6E9F2B3E7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89832" y="3605212"/>
            <a:ext cx="4310280" cy="259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F7B782AE-DD52-464C-8442-459CF5365BF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31144" y="3605214"/>
            <a:ext cx="2700000" cy="72759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4D0F1EE-038A-408D-8E1E-3FC455A38DB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2303F9-44E1-4307-AC9F-379BF3BE72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560374B-2FEC-4C35-99AB-CEDF599EA0B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534277" y="1512514"/>
            <a:ext cx="1723431" cy="1582892"/>
          </a:xfrm>
          <a:prstGeom prst="rect">
            <a:avLst/>
          </a:prstGeom>
          <a:blipFill>
            <a:blip r:embed="rId4"/>
            <a:stretch>
              <a:fillRect t="-13941" b="-37632"/>
            </a:stretch>
          </a:blipFill>
        </p:spPr>
        <p:txBody>
          <a:bodyPr/>
          <a:lstStyle>
            <a:lvl1pPr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2155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6B4F6363-4D60-4208-8FEE-B7F12EDD1C51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E84A35F3-573F-493A-9BB5-CDB1871AE1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442947" y="1779999"/>
            <a:ext cx="3348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1A7CF413-A654-4EB4-B519-46AA63AE393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971045" y="1779999"/>
            <a:ext cx="378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0B4F379B-BC2F-4858-8C07-5C827C0314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31143" y="1779999"/>
            <a:ext cx="180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GB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GB"/>
              <a:t>Text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78E42CAB-23DC-47DC-8ECF-2DEDFC9864A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3605212"/>
            <a:ext cx="3816000" cy="259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 b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428F7AE9-B31F-43B5-8A13-DF6E9F2B3E7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89832" y="3605212"/>
            <a:ext cx="4310280" cy="259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F7B782AE-DD52-464C-8442-459CF5365BF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31144" y="3605214"/>
            <a:ext cx="2700000" cy="72759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4D0F1EE-038A-408D-8E1E-3FC455A38DB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2303F9-44E1-4307-AC9F-379BF3BE72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40" name="Picture Placeholder 16">
            <a:extLst>
              <a:ext uri="{FF2B5EF4-FFF2-40B4-BE49-F238E27FC236}">
                <a16:creationId xmlns:a16="http://schemas.microsoft.com/office/drawing/2014/main" id="{4E722CF8-E930-4BEA-A60F-E0E575C70C78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864302" y="155545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rcRect/>
            <a:stretch>
              <a:fillRect/>
            </a:stretch>
          </a:blipFill>
          <a:ln w="15875">
            <a:solidFill>
              <a:schemeClr val="accent2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33121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21DB09EE-E3C0-42FD-A544-DC5343F278E7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2777213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tx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165DC36-62B1-4EA9-8B58-1F8769E3773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42180429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adsho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A8ECDA57-4871-4435-81EA-BBB8E5FB2618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tx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20BDA3C6-2C55-4EC0-92A0-2FA57310BA2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481011" y="1617885"/>
            <a:ext cx="1224430" cy="1298310"/>
          </a:xfrm>
          <a:prstGeom prst="rect">
            <a:avLst/>
          </a:pr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rcRect/>
            <a:stretch>
              <a:fillRect/>
            </a:stretch>
          </a:blipFill>
          <a:ln w="31750">
            <a:noFill/>
          </a:ln>
          <a:effectLst/>
        </p:spPr>
        <p:txBody>
          <a:bodyPr wrap="square" lIns="72000" anchor="t" anchorCtr="0">
            <a:noAutofit/>
          </a:bodyPr>
          <a:lstStyle>
            <a:lvl1pPr marL="0" indent="0" algn="l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Inser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44762EA-DFCD-4F24-9797-407D63DA917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9609158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xagon Headsho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025C197D-310C-47A9-8449-B4DBCA42512D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tx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DFB4B834-C56F-490A-BC1C-C54AB928B9E4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61536" y="151853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rcRect/>
            <a:stretch>
              <a:fillRect/>
            </a:stretch>
          </a:blipFill>
          <a:ln w="15875">
            <a:solidFill>
              <a:srgbClr val="00AECF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B678BD-E31D-4A5B-A4E4-810EC221D82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5433366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8E7F6BA-6FF3-4807-A992-128446656EBE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8039069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xagon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145BBAF5-9F92-4F54-8CD3-F45AB97454E0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998EA4DB-4218-498A-AEC4-23CC43FE457F}"/>
              </a:ext>
            </a:extLst>
          </p:cNvPr>
          <p:cNvSpPr/>
          <p:nvPr userDrawn="1"/>
        </p:nvSpPr>
        <p:spPr>
          <a:xfrm>
            <a:off x="4490359" y="2049775"/>
            <a:ext cx="1592941" cy="1808204"/>
          </a:xfrm>
          <a:custGeom>
            <a:avLst/>
            <a:gdLst>
              <a:gd name="connsiteX0" fmla="*/ 1606503 w 1592941"/>
              <a:gd name="connsiteY0" fmla="*/ 0 h 1808203"/>
              <a:gd name="connsiteX1" fmla="*/ 1606503 w 1592941"/>
              <a:gd name="connsiteY1" fmla="*/ 1358090 h 1808203"/>
              <a:gd name="connsiteX2" fmla="*/ 972555 w 1592941"/>
              <a:gd name="connsiteY2" fmla="*/ 1804114 h 1808203"/>
              <a:gd name="connsiteX3" fmla="*/ 972555 w 1592941"/>
              <a:gd name="connsiteY3" fmla="*/ 1809065 h 1808203"/>
              <a:gd name="connsiteX4" fmla="*/ 0 w 1592941"/>
              <a:gd name="connsiteY4" fmla="*/ 1130127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2941" h="1808203">
                <a:moveTo>
                  <a:pt x="1606503" y="0"/>
                </a:moveTo>
                <a:lnTo>
                  <a:pt x="1606503" y="1358090"/>
                </a:lnTo>
                <a:lnTo>
                  <a:pt x="972555" y="1804114"/>
                </a:lnTo>
                <a:lnTo>
                  <a:pt x="972555" y="1809065"/>
                </a:lnTo>
                <a:lnTo>
                  <a:pt x="0" y="1130127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68B9C2E-6668-4C07-95F1-CB22EEC5D65E}"/>
              </a:ext>
            </a:extLst>
          </p:cNvPr>
          <p:cNvSpPr/>
          <p:nvPr userDrawn="1"/>
        </p:nvSpPr>
        <p:spPr>
          <a:xfrm>
            <a:off x="6096862" y="2046977"/>
            <a:ext cx="1614467" cy="1808204"/>
          </a:xfrm>
          <a:custGeom>
            <a:avLst/>
            <a:gdLst>
              <a:gd name="connsiteX0" fmla="*/ 1615113 w 1614467"/>
              <a:gd name="connsiteY0" fmla="*/ 1138953 h 1808203"/>
              <a:gd name="connsiteX1" fmla="*/ 1615113 w 1614467"/>
              <a:gd name="connsiteY1" fmla="*/ 1139168 h 1808203"/>
              <a:gd name="connsiteX2" fmla="*/ 633947 w 1614467"/>
              <a:gd name="connsiteY2" fmla="*/ 1818321 h 1808203"/>
              <a:gd name="connsiteX3" fmla="*/ 633947 w 1614467"/>
              <a:gd name="connsiteY3" fmla="*/ 1806912 h 1808203"/>
              <a:gd name="connsiteX4" fmla="*/ 1507 w 1614467"/>
              <a:gd name="connsiteY4" fmla="*/ 1359812 h 1808203"/>
              <a:gd name="connsiteX5" fmla="*/ 0 w 1614467"/>
              <a:gd name="connsiteY5" fmla="*/ 1360889 h 1808203"/>
              <a:gd name="connsiteX6" fmla="*/ 0 w 1614467"/>
              <a:gd name="connsiteY6" fmla="*/ 2798 h 1808203"/>
              <a:gd name="connsiteX7" fmla="*/ 3875 w 1614467"/>
              <a:gd name="connsiteY7" fmla="*/ 0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14467" h="1808203">
                <a:moveTo>
                  <a:pt x="1615113" y="1138953"/>
                </a:moveTo>
                <a:lnTo>
                  <a:pt x="1615113" y="1139168"/>
                </a:lnTo>
                <a:lnTo>
                  <a:pt x="633947" y="1818321"/>
                </a:lnTo>
                <a:lnTo>
                  <a:pt x="633947" y="1806912"/>
                </a:lnTo>
                <a:lnTo>
                  <a:pt x="1507" y="1359812"/>
                </a:lnTo>
                <a:lnTo>
                  <a:pt x="0" y="1360889"/>
                </a:lnTo>
                <a:lnTo>
                  <a:pt x="0" y="2798"/>
                </a:lnTo>
                <a:lnTo>
                  <a:pt x="3875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42C4371-8AB2-4223-BBB9-9B8FF4C11085}"/>
              </a:ext>
            </a:extLst>
          </p:cNvPr>
          <p:cNvSpPr/>
          <p:nvPr userDrawn="1"/>
        </p:nvSpPr>
        <p:spPr>
          <a:xfrm>
            <a:off x="6722414" y="3186145"/>
            <a:ext cx="968680" cy="2238728"/>
          </a:xfrm>
          <a:custGeom>
            <a:avLst/>
            <a:gdLst>
              <a:gd name="connsiteX0" fmla="*/ 989561 w 968680"/>
              <a:gd name="connsiteY0" fmla="*/ 0 h 2238728"/>
              <a:gd name="connsiteX1" fmla="*/ 989561 w 968680"/>
              <a:gd name="connsiteY1" fmla="*/ 2238083 h 2238728"/>
              <a:gd name="connsiteX2" fmla="*/ 986117 w 968680"/>
              <a:gd name="connsiteY2" fmla="*/ 2240451 h 2238728"/>
              <a:gd name="connsiteX3" fmla="*/ 0 w 968680"/>
              <a:gd name="connsiteY3" fmla="*/ 1552041 h 2238728"/>
              <a:gd name="connsiteX4" fmla="*/ 8395 w 968680"/>
              <a:gd name="connsiteY4" fmla="*/ 1546229 h 2238728"/>
              <a:gd name="connsiteX5" fmla="*/ 8395 w 968680"/>
              <a:gd name="connsiteY5" fmla="*/ 679153 h 2238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8680" h="2238728">
                <a:moveTo>
                  <a:pt x="989561" y="0"/>
                </a:moveTo>
                <a:lnTo>
                  <a:pt x="989561" y="2238083"/>
                </a:lnTo>
                <a:lnTo>
                  <a:pt x="986117" y="2240451"/>
                </a:lnTo>
                <a:lnTo>
                  <a:pt x="0" y="1552041"/>
                </a:lnTo>
                <a:lnTo>
                  <a:pt x="8395" y="1546229"/>
                </a:lnTo>
                <a:lnTo>
                  <a:pt x="8395" y="679153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4ECC8C-1257-4D1B-B1F3-8689EED79010}"/>
              </a:ext>
            </a:extLst>
          </p:cNvPr>
          <p:cNvSpPr/>
          <p:nvPr userDrawn="1"/>
        </p:nvSpPr>
        <p:spPr>
          <a:xfrm>
            <a:off x="6096862" y="4738186"/>
            <a:ext cx="1592941" cy="1765151"/>
          </a:xfrm>
          <a:custGeom>
            <a:avLst/>
            <a:gdLst>
              <a:gd name="connsiteX0" fmla="*/ 1611669 w 1592941"/>
              <a:gd name="connsiteY0" fmla="*/ 688409 h 1765151"/>
              <a:gd name="connsiteX1" fmla="*/ 0 w 1592941"/>
              <a:gd name="connsiteY1" fmla="*/ 1785386 h 1765151"/>
              <a:gd name="connsiteX2" fmla="*/ 0 w 1592941"/>
              <a:gd name="connsiteY2" fmla="*/ 425574 h 1765151"/>
              <a:gd name="connsiteX3" fmla="*/ 625552 w 1592941"/>
              <a:gd name="connsiteY3" fmla="*/ 0 h 1765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65151">
                <a:moveTo>
                  <a:pt x="1611669" y="688409"/>
                </a:moveTo>
                <a:lnTo>
                  <a:pt x="0" y="1785386"/>
                </a:lnTo>
                <a:lnTo>
                  <a:pt x="0" y="425574"/>
                </a:lnTo>
                <a:lnTo>
                  <a:pt x="625552" y="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D7F8349-ACC4-4383-99B6-33AAF0248346}"/>
              </a:ext>
            </a:extLst>
          </p:cNvPr>
          <p:cNvSpPr/>
          <p:nvPr userDrawn="1"/>
        </p:nvSpPr>
        <p:spPr>
          <a:xfrm>
            <a:off x="4489713" y="4734957"/>
            <a:ext cx="1592941" cy="1786677"/>
          </a:xfrm>
          <a:custGeom>
            <a:avLst/>
            <a:gdLst>
              <a:gd name="connsiteX0" fmla="*/ 1607149 w 1592941"/>
              <a:gd name="connsiteY0" fmla="*/ 428803 h 1786677"/>
              <a:gd name="connsiteX1" fmla="*/ 1607149 w 1592941"/>
              <a:gd name="connsiteY1" fmla="*/ 1788615 h 1786677"/>
              <a:gd name="connsiteX2" fmla="*/ 0 w 1592941"/>
              <a:gd name="connsiteY2" fmla="*/ 681521 h 1786677"/>
              <a:gd name="connsiteX3" fmla="*/ 984610 w 1592941"/>
              <a:gd name="connsiteY3" fmla="*/ 0 h 1786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86677">
                <a:moveTo>
                  <a:pt x="1607149" y="428803"/>
                </a:moveTo>
                <a:lnTo>
                  <a:pt x="1607149" y="1788615"/>
                </a:lnTo>
                <a:lnTo>
                  <a:pt x="0" y="681521"/>
                </a:lnTo>
                <a:lnTo>
                  <a:pt x="984610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1F91A86-A4FE-4EEA-95A9-ABA2D725D4B1}"/>
              </a:ext>
            </a:extLst>
          </p:cNvPr>
          <p:cNvSpPr/>
          <p:nvPr userDrawn="1"/>
        </p:nvSpPr>
        <p:spPr>
          <a:xfrm>
            <a:off x="4481748" y="3179902"/>
            <a:ext cx="990207" cy="2217202"/>
          </a:xfrm>
          <a:custGeom>
            <a:avLst/>
            <a:gdLst>
              <a:gd name="connsiteX0" fmla="*/ 992575 w 990206"/>
              <a:gd name="connsiteY0" fmla="*/ 1555055 h 2217202"/>
              <a:gd name="connsiteX1" fmla="*/ 7965 w 990206"/>
              <a:gd name="connsiteY1" fmla="*/ 2236576 h 2217202"/>
              <a:gd name="connsiteX2" fmla="*/ 0 w 990206"/>
              <a:gd name="connsiteY2" fmla="*/ 2231194 h 2217202"/>
              <a:gd name="connsiteX3" fmla="*/ 0 w 990206"/>
              <a:gd name="connsiteY3" fmla="*/ 6027 h 2217202"/>
              <a:gd name="connsiteX4" fmla="*/ 8610 w 990206"/>
              <a:gd name="connsiteY4" fmla="*/ 0 h 2217202"/>
              <a:gd name="connsiteX5" fmla="*/ 981166 w 990206"/>
              <a:gd name="connsiteY5" fmla="*/ 678937 h 2217202"/>
              <a:gd name="connsiteX6" fmla="*/ 981166 w 990206"/>
              <a:gd name="connsiteY6" fmla="*/ 1547091 h 2217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206" h="2217202">
                <a:moveTo>
                  <a:pt x="992575" y="1555055"/>
                </a:moveTo>
                <a:lnTo>
                  <a:pt x="7965" y="2236576"/>
                </a:lnTo>
                <a:lnTo>
                  <a:pt x="0" y="2231194"/>
                </a:lnTo>
                <a:lnTo>
                  <a:pt x="0" y="6027"/>
                </a:lnTo>
                <a:lnTo>
                  <a:pt x="8610" y="0"/>
                </a:lnTo>
                <a:lnTo>
                  <a:pt x="981166" y="678937"/>
                </a:lnTo>
                <a:lnTo>
                  <a:pt x="981166" y="1547091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F71D921D-E815-F843-8D83-B6C3C16439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 userDrawn="1"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9" name="Text Placeholder 22">
            <a:extLst>
              <a:ext uri="{FF2B5EF4-FFF2-40B4-BE49-F238E27FC236}">
                <a16:creationId xmlns:a16="http://schemas.microsoft.com/office/drawing/2014/main" id="{9C2C73CC-7BBA-4AB5-9F31-7A9948DD02C7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0" name="Text Placeholder 22">
            <a:extLst>
              <a:ext uri="{FF2B5EF4-FFF2-40B4-BE49-F238E27FC236}">
                <a16:creationId xmlns:a16="http://schemas.microsoft.com/office/drawing/2014/main" id="{ACF8BC36-C25E-4E14-81DD-43E6AD7F43E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42799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47" name="Text Placeholder 22">
            <a:extLst>
              <a:ext uri="{FF2B5EF4-FFF2-40B4-BE49-F238E27FC236}">
                <a16:creationId xmlns:a16="http://schemas.microsoft.com/office/drawing/2014/main" id="{8ED2000C-3948-4295-8AB2-77B8EA5FC36E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442799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9" name="Text Placeholder 22">
            <a:extLst>
              <a:ext uri="{FF2B5EF4-FFF2-40B4-BE49-F238E27FC236}">
                <a16:creationId xmlns:a16="http://schemas.microsoft.com/office/drawing/2014/main" id="{CAEC8480-4C52-4DF4-9AA5-B6002C4CF189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442799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0" name="Text Placeholder 22">
            <a:extLst>
              <a:ext uri="{FF2B5EF4-FFF2-40B4-BE49-F238E27FC236}">
                <a16:creationId xmlns:a16="http://schemas.microsoft.com/office/drawing/2014/main" id="{CC93A6C9-814A-45DA-9A94-78668198253B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442799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1" name="Text Placeholder 22">
            <a:extLst>
              <a:ext uri="{FF2B5EF4-FFF2-40B4-BE49-F238E27FC236}">
                <a16:creationId xmlns:a16="http://schemas.microsoft.com/office/drawing/2014/main" id="{BCC769DA-6390-4C7E-A4D7-0169214C1BD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442799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2" name="Text Placeholder 22">
            <a:extLst>
              <a:ext uri="{FF2B5EF4-FFF2-40B4-BE49-F238E27FC236}">
                <a16:creationId xmlns:a16="http://schemas.microsoft.com/office/drawing/2014/main" id="{17FB0337-BD14-4336-B29B-3DCE71A60C79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8316410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663F0B75-7DCF-4676-8D96-0F13787305EA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8316410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772D1169-69D6-46E6-8422-F6D62FEC420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16410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325DA6B-3F84-4F11-8E5F-18FF0C5E2C04}"/>
              </a:ext>
            </a:extLst>
          </p:cNvPr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8316410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69" name="Text Placeholder 22">
            <a:extLst>
              <a:ext uri="{FF2B5EF4-FFF2-40B4-BE49-F238E27FC236}">
                <a16:creationId xmlns:a16="http://schemas.microsoft.com/office/drawing/2014/main" id="{F3D91CB9-9423-4706-8307-13B75842526C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8316410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70" name="Text Placeholder 22">
            <a:extLst>
              <a:ext uri="{FF2B5EF4-FFF2-40B4-BE49-F238E27FC236}">
                <a16:creationId xmlns:a16="http://schemas.microsoft.com/office/drawing/2014/main" id="{BBDBFD81-3F25-45C4-931C-C83C44642FA1}"/>
              </a:ext>
            </a:extLst>
          </p:cNvPr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8316410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71" name="Text Placeholder 22">
            <a:extLst>
              <a:ext uri="{FF2B5EF4-FFF2-40B4-BE49-F238E27FC236}">
                <a16:creationId xmlns:a16="http://schemas.microsoft.com/office/drawing/2014/main" id="{8AF38639-9E42-4E6E-B553-2E71FACE72C6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 rot="19506392">
            <a:off x="4707211" y="2532499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2" name="Text Placeholder 22">
            <a:extLst>
              <a:ext uri="{FF2B5EF4-FFF2-40B4-BE49-F238E27FC236}">
                <a16:creationId xmlns:a16="http://schemas.microsoft.com/office/drawing/2014/main" id="{79D5FF8B-3DD9-4FCF-BC25-11B5B708C5C5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 rot="2116930">
            <a:off x="5943838" y="252371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3" name="Text Placeholder 22">
            <a:extLst>
              <a:ext uri="{FF2B5EF4-FFF2-40B4-BE49-F238E27FC236}">
                <a16:creationId xmlns:a16="http://schemas.microsoft.com/office/drawing/2014/main" id="{D62B37A5-61DE-4BC5-AC73-372745F00D33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 rot="5400000">
            <a:off x="6525291" y="3822312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4" name="Text Placeholder 22">
            <a:extLst>
              <a:ext uri="{FF2B5EF4-FFF2-40B4-BE49-F238E27FC236}">
                <a16:creationId xmlns:a16="http://schemas.microsoft.com/office/drawing/2014/main" id="{BF3E3C32-F259-4D5B-A786-01B702121B05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 rot="19561147">
            <a:off x="5958993" y="510039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5" name="Text Placeholder 22">
            <a:extLst>
              <a:ext uri="{FF2B5EF4-FFF2-40B4-BE49-F238E27FC236}">
                <a16:creationId xmlns:a16="http://schemas.microsoft.com/office/drawing/2014/main" id="{C177F396-C670-417E-A13A-5F5DC906BB47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 rot="2089401">
            <a:off x="4714637" y="5104414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6" name="Text Placeholder 22">
            <a:extLst>
              <a:ext uri="{FF2B5EF4-FFF2-40B4-BE49-F238E27FC236}">
                <a16:creationId xmlns:a16="http://schemas.microsoft.com/office/drawing/2014/main" id="{4B383110-BE85-43CD-BC20-B568C760864C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 rot="16200000">
            <a:off x="4110812" y="3845473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1272E3C2-33B0-42F0-98CB-8C8C243BF377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6052DF19-9D96-4A54-8FA3-46C146C0B5F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F5943707-01DA-43C9-BA1F-E7EE0E7D2359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5A932B5-1139-4503-A7E7-6CD9AAADD06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7784492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0AF48DA9-E99B-4AAD-8AED-1F315BB61CAB}"/>
              </a:ext>
            </a:extLst>
          </p:cNvPr>
          <p:cNvSpPr/>
          <p:nvPr userDrawn="1"/>
        </p:nvSpPr>
        <p:spPr>
          <a:xfrm rot="5400000">
            <a:off x="0" y="1"/>
            <a:ext cx="3815466" cy="3815466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7132858-3690-C942-AE55-74072A035C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"/>
            <a:ext cx="5711211" cy="6857999"/>
          </a:xfrm>
          <a:custGeom>
            <a:avLst/>
            <a:gdLst>
              <a:gd name="connsiteX0" fmla="*/ 3888681 w 5711211"/>
              <a:gd name="connsiteY0" fmla="*/ 0 h 6857999"/>
              <a:gd name="connsiteX1" fmla="*/ 5711211 w 5711211"/>
              <a:gd name="connsiteY1" fmla="*/ 0 h 6857999"/>
              <a:gd name="connsiteX2" fmla="*/ 5711211 w 5711211"/>
              <a:gd name="connsiteY2" fmla="*/ 4103993 h 6857999"/>
              <a:gd name="connsiteX3" fmla="*/ 1739709 w 5711211"/>
              <a:gd name="connsiteY3" fmla="*/ 6857999 h 6857999"/>
              <a:gd name="connsiteX4" fmla="*/ 0 w 5711211"/>
              <a:gd name="connsiteY4" fmla="*/ 6857999 h 6857999"/>
              <a:gd name="connsiteX5" fmla="*/ 0 w 5711211"/>
              <a:gd name="connsiteY5" fmla="*/ 2714106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11211" h="6857999">
                <a:moveTo>
                  <a:pt x="3888681" y="0"/>
                </a:moveTo>
                <a:lnTo>
                  <a:pt x="5711211" y="0"/>
                </a:lnTo>
                <a:lnTo>
                  <a:pt x="5711211" y="4103993"/>
                </a:lnTo>
                <a:lnTo>
                  <a:pt x="1739709" y="6857999"/>
                </a:lnTo>
                <a:lnTo>
                  <a:pt x="0" y="6857999"/>
                </a:lnTo>
                <a:lnTo>
                  <a:pt x="0" y="2714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2414" y="2259127"/>
            <a:ext cx="4004633" cy="3810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Subtitle goes here</a:t>
            </a:r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2D878DF-45CE-48C4-ADBA-897AA41158B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F0A4E75-D008-4A3D-9E2B-EFA56AA2C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2415" y="3100375"/>
            <a:ext cx="4004632" cy="99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850966A-A907-44E5-AD4A-B2C25296B1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42415" y="4550622"/>
            <a:ext cx="4004632" cy="581046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5" name="Freeform: Shape 38">
            <a:extLst>
              <a:ext uri="{FF2B5EF4-FFF2-40B4-BE49-F238E27FC236}">
                <a16:creationId xmlns:a16="http://schemas.microsoft.com/office/drawing/2014/main" id="{CF0C42AB-56AB-4CD9-BC29-E642601C21CA}"/>
              </a:ext>
            </a:extLst>
          </p:cNvPr>
          <p:cNvSpPr/>
          <p:nvPr userDrawn="1"/>
        </p:nvSpPr>
        <p:spPr>
          <a:xfrm>
            <a:off x="1173742" y="4827938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Freeform: Shape 38">
            <a:extLst>
              <a:ext uri="{FF2B5EF4-FFF2-40B4-BE49-F238E27FC236}">
                <a16:creationId xmlns:a16="http://schemas.microsoft.com/office/drawing/2014/main" id="{64FAF79B-779C-47A3-89F1-134187E543EF}"/>
              </a:ext>
            </a:extLst>
          </p:cNvPr>
          <p:cNvSpPr/>
          <p:nvPr userDrawn="1"/>
        </p:nvSpPr>
        <p:spPr>
          <a:xfrm rot="10800000">
            <a:off x="137450" y="1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0"/>
                </a:schemeClr>
              </a:gs>
              <a:gs pos="74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D96DC3D-7488-477F-B5D0-C4E18D0F845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9325244" y="6480000"/>
            <a:ext cx="2396518" cy="123111"/>
          </a:xfrm>
        </p:spPr>
        <p:txBody>
          <a:bodyPr/>
          <a:lstStyle/>
          <a:p>
            <a:pPr algn="r"/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57117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hombus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98514DF3-2565-4D9A-BBC5-70C09D78F24E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10E4203-08E6-4418-AD09-B8D9334C0A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1450" y="1905000"/>
            <a:ext cx="4229100" cy="4393282"/>
          </a:xfrm>
          <a:prstGeom prst="rect">
            <a:avLst/>
          </a:prstGeom>
        </p:spPr>
      </p:pic>
      <p:sp>
        <p:nvSpPr>
          <p:cNvPr id="109" name="Text Placeholder 22">
            <a:extLst>
              <a:ext uri="{FF2B5EF4-FFF2-40B4-BE49-F238E27FC236}">
                <a16:creationId xmlns:a16="http://schemas.microsoft.com/office/drawing/2014/main" id="{FBCEB81F-942E-4E7A-BE5F-A71E6B6C7C8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 rot="19531667">
            <a:off x="6418611" y="4299467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4" name="Text Placeholder 22">
            <a:extLst>
              <a:ext uri="{FF2B5EF4-FFF2-40B4-BE49-F238E27FC236}">
                <a16:creationId xmlns:a16="http://schemas.microsoft.com/office/drawing/2014/main" id="{5739B760-04F1-4E96-9625-86162A24023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 rot="2012338">
            <a:off x="4209576" y="4269079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7" name="Text Placeholder 22">
            <a:extLst>
              <a:ext uri="{FF2B5EF4-FFF2-40B4-BE49-F238E27FC236}">
                <a16:creationId xmlns:a16="http://schemas.microsoft.com/office/drawing/2014/main" id="{474ED7E6-58E4-4601-9048-F4C3A2B3CCD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2090804">
            <a:off x="6086947" y="265589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7" name="Text Placeholder 22">
            <a:extLst>
              <a:ext uri="{FF2B5EF4-FFF2-40B4-BE49-F238E27FC236}">
                <a16:creationId xmlns:a16="http://schemas.microsoft.com/office/drawing/2014/main" id="{62163FF3-A63D-42A2-B8D8-9D1C745B053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 rot="19584229">
            <a:off x="4526147" y="269911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F71D921D-E815-F843-8D83-B6C3C16439D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DF03B141-FBCC-436D-AD9E-F8C15119CD63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70AE0952-39FD-4454-AAE2-8F8D40805849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BF824F2-B806-4A94-975B-1090A135866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6022914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quares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20435A45-8C6C-4A21-A06B-488E748A9CE8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rgbClr val="00AECF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rgbClr val="10548C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rgbClr val="FF555F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6B5300-F1CB-4EEB-8CC9-08A24B4A917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088657" y="2232878"/>
            <a:ext cx="1944000" cy="187200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E8187A81-DCD4-420F-A0D8-52FE345F75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B7E4039A-915B-41DC-A4D1-8E2D00283E4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F5BD438B-55CB-42C1-B923-77D8B42E6907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E9E16FD-31D4-403C-98C8-58ACE1EB9DC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3614C4F9-57DD-410E-BC94-BCE40DDA85E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181219" y="2232878"/>
            <a:ext cx="1944000" cy="1872000"/>
          </a:xfrm>
          <a:prstGeom prst="rect">
            <a:avLst/>
          </a:prstGeom>
          <a:solidFill>
            <a:schemeClr val="accent3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397A3EC-F218-4325-BAC9-F15E16EFBDE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088657" y="4246307"/>
            <a:ext cx="1944000" cy="1872000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F840943-A169-4345-A64D-496EA67778E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81219" y="4246307"/>
            <a:ext cx="1944000" cy="187200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40665854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&amp;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CD05D69A-5D1E-41AB-A32E-404585972AA7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340F2F0-C5F1-4AB4-8DA4-3433AB32CA09}"/>
              </a:ext>
            </a:extLst>
          </p:cNvPr>
          <p:cNvSpPr/>
          <p:nvPr/>
        </p:nvSpPr>
        <p:spPr>
          <a:xfrm>
            <a:off x="442800" y="3969892"/>
            <a:ext cx="2592000" cy="214621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FED55F9B-215F-46F1-8BF2-58FAE022CE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2799" y="2250000"/>
            <a:ext cx="2592000" cy="16929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8" name="Picture Placeholder 2">
            <a:extLst>
              <a:ext uri="{FF2B5EF4-FFF2-40B4-BE49-F238E27FC236}">
                <a16:creationId xmlns:a16="http://schemas.microsoft.com/office/drawing/2014/main" id="{E10A83AB-065A-479D-832E-DAF6AA362A5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45617" y="2250000"/>
            <a:ext cx="2592000" cy="16929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2" name="Picture Placeholder 2">
            <a:extLst>
              <a:ext uri="{FF2B5EF4-FFF2-40B4-BE49-F238E27FC236}">
                <a16:creationId xmlns:a16="http://schemas.microsoft.com/office/drawing/2014/main" id="{9ED5828F-8F6F-4738-BC10-43B225486D5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40364" y="2250000"/>
            <a:ext cx="2592000" cy="16929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6" name="Picture Placeholder 2">
            <a:extLst>
              <a:ext uri="{FF2B5EF4-FFF2-40B4-BE49-F238E27FC236}">
                <a16:creationId xmlns:a16="http://schemas.microsoft.com/office/drawing/2014/main" id="{E738D5B4-41AD-47FF-B2C3-F953D2665B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151252" y="2250000"/>
            <a:ext cx="2592000" cy="16929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263F5F59-A06F-4A43-B481-AC3D078E4175}"/>
              </a:ext>
            </a:extLst>
          </p:cNvPr>
          <p:cNvCxnSpPr>
            <a:cxnSpLocks/>
          </p:cNvCxnSpPr>
          <p:nvPr/>
        </p:nvCxnSpPr>
        <p:spPr>
          <a:xfrm>
            <a:off x="595799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3">
            <a:extLst>
              <a:ext uri="{FF2B5EF4-FFF2-40B4-BE49-F238E27FC236}">
                <a16:creationId xmlns:a16="http://schemas.microsoft.com/office/drawing/2014/main" id="{880895D5-6A9D-45D9-84A5-B48C071FA6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17A71A41-DCC6-44B5-8D6D-901E7A96F64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7" name="Text Placeholder 22">
            <a:extLst>
              <a:ext uri="{FF2B5EF4-FFF2-40B4-BE49-F238E27FC236}">
                <a16:creationId xmlns:a16="http://schemas.microsoft.com/office/drawing/2014/main" id="{B7ADF330-AE85-40DE-835E-B49449314A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17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D17ECCBE-9451-4EF2-9377-41ED7F99FD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9173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93BA6191-995D-4A8B-8097-1BCD8EA9E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2E4D74C-410E-483B-833E-4D7AE804ABE2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883744C2-8338-4510-922E-8171C1DBABC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B42B4048-3937-457B-8213-80A2A3628E05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D7BBE5E-1B61-4CA3-801A-918DA43350A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AD6BED7-E2E8-48E7-B6C3-3D790921CE02}"/>
              </a:ext>
            </a:extLst>
          </p:cNvPr>
          <p:cNvSpPr/>
          <p:nvPr userDrawn="1"/>
        </p:nvSpPr>
        <p:spPr>
          <a:xfrm>
            <a:off x="3341581" y="3969892"/>
            <a:ext cx="2592000" cy="214621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F48163F1-E4CF-4E7D-A5AC-7F557B9F9888}"/>
              </a:ext>
            </a:extLst>
          </p:cNvPr>
          <p:cNvCxnSpPr>
            <a:cxnSpLocks/>
          </p:cNvCxnSpPr>
          <p:nvPr userDrawn="1"/>
        </p:nvCxnSpPr>
        <p:spPr>
          <a:xfrm>
            <a:off x="349305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D4DD34B9-07B3-45D6-A5BF-05306FFE4D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76428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445A936B-6A9C-4882-8BF5-60F2E1365B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7642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7818D70A-6530-4BDD-B6BD-0AF00ED04C6D}"/>
              </a:ext>
            </a:extLst>
          </p:cNvPr>
          <p:cNvSpPr/>
          <p:nvPr userDrawn="1"/>
        </p:nvSpPr>
        <p:spPr>
          <a:xfrm>
            <a:off x="6240362" y="3969892"/>
            <a:ext cx="2592000" cy="214621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3D0D619-ECCB-4AFE-A59F-858FA4BFBE68}"/>
              </a:ext>
            </a:extLst>
          </p:cNvPr>
          <p:cNvCxnSpPr>
            <a:cxnSpLocks/>
          </p:cNvCxnSpPr>
          <p:nvPr userDrawn="1"/>
        </p:nvCxnSpPr>
        <p:spPr>
          <a:xfrm>
            <a:off x="639336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22">
            <a:extLst>
              <a:ext uri="{FF2B5EF4-FFF2-40B4-BE49-F238E27FC236}">
                <a16:creationId xmlns:a16="http://schemas.microsoft.com/office/drawing/2014/main" id="{F1F9C027-3BB0-4222-86AF-4FB620642C2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76738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1" name="Text Placeholder 22">
            <a:extLst>
              <a:ext uri="{FF2B5EF4-FFF2-40B4-BE49-F238E27FC236}">
                <a16:creationId xmlns:a16="http://schemas.microsoft.com/office/drawing/2014/main" id="{13334C41-9D92-43F9-9466-EC60629C93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7673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7251D0E-07EF-48AE-B28B-8B7FE9960262}"/>
              </a:ext>
            </a:extLst>
          </p:cNvPr>
          <p:cNvSpPr/>
          <p:nvPr userDrawn="1"/>
        </p:nvSpPr>
        <p:spPr>
          <a:xfrm>
            <a:off x="9139143" y="3969892"/>
            <a:ext cx="2592000" cy="2146211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9E8C4562-237D-43E7-9629-0C9E2F6F24A4}"/>
              </a:ext>
            </a:extLst>
          </p:cNvPr>
          <p:cNvCxnSpPr>
            <a:cxnSpLocks/>
          </p:cNvCxnSpPr>
          <p:nvPr userDrawn="1"/>
        </p:nvCxnSpPr>
        <p:spPr>
          <a:xfrm>
            <a:off x="929214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 Placeholder 22">
            <a:extLst>
              <a:ext uri="{FF2B5EF4-FFF2-40B4-BE49-F238E27FC236}">
                <a16:creationId xmlns:a16="http://schemas.microsoft.com/office/drawing/2014/main" id="{181F6102-B745-4818-A0BA-504371F2668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75518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2C37B76-7729-4001-A7C4-B08D2F98971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7551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95944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w/ Icon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7FBD1F2-8F8E-4ED2-B94D-477D0A3B1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813"/>
          <a:stretch/>
        </p:blipFill>
        <p:spPr>
          <a:xfrm>
            <a:off x="0" y="0"/>
            <a:ext cx="4772841" cy="6858000"/>
          </a:xfrm>
          <a:prstGeom prst="rect">
            <a:avLst/>
          </a:prstGeom>
          <a:ln>
            <a:noFill/>
          </a:ln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A701FB85-C272-4F67-9376-36F249DCAFBF}"/>
              </a:ext>
            </a:extLst>
          </p:cNvPr>
          <p:cNvSpPr/>
          <p:nvPr/>
        </p:nvSpPr>
        <p:spPr>
          <a:xfrm>
            <a:off x="3020406" y="0"/>
            <a:ext cx="917159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1ED8F4F-C0B6-428A-8156-2EAE02418D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20764" y="2408983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sz="1400" b="1">
                <a:solidFill>
                  <a:schemeClr val="accent3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2219E8E-B81B-42A6-9777-5061C48EB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948473" y="4427669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sz="1400"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D3371-D5A0-444B-8039-E662C6EAB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20764" y="390296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00D3F3F-CEDE-AA4A-B072-12C37EE83EF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A23EC76-A22A-47BD-BB6E-CAADBA2F82A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4671103-7E79-47FF-8825-80F398220656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109B9F4C-9DEC-4C04-B351-C0AF80F0C2A2}"/>
              </a:ext>
            </a:extLst>
          </p:cNvPr>
          <p:cNvSpPr/>
          <p:nvPr userDrawn="1"/>
        </p:nvSpPr>
        <p:spPr>
          <a:xfrm>
            <a:off x="5348713" y="369031"/>
            <a:ext cx="377904" cy="521508"/>
          </a:xfrm>
          <a:custGeom>
            <a:avLst/>
            <a:gdLst>
              <a:gd name="connsiteX0" fmla="*/ 0 w 1600010"/>
              <a:gd name="connsiteY0" fmla="*/ 564484 h 2208014"/>
              <a:gd name="connsiteX1" fmla="*/ 801499 w 1600010"/>
              <a:gd name="connsiteY1" fmla="*/ 0 h 2208014"/>
              <a:gd name="connsiteX2" fmla="*/ 1600650 w 1600010"/>
              <a:gd name="connsiteY2" fmla="*/ 564484 h 2208014"/>
              <a:gd name="connsiteX3" fmla="*/ 1600650 w 1600010"/>
              <a:gd name="connsiteY3" fmla="*/ 1673611 h 2208014"/>
              <a:gd name="connsiteX4" fmla="*/ 800325 w 1600010"/>
              <a:gd name="connsiteY4" fmla="*/ 2218361 h 2208014"/>
              <a:gd name="connsiteX5" fmla="*/ 0 w 1600010"/>
              <a:gd name="connsiteY5" fmla="*/ 1666998 h 2208014"/>
              <a:gd name="connsiteX6" fmla="*/ 0 w 1600010"/>
              <a:gd name="connsiteY6" fmla="*/ 564484 h 2208014"/>
              <a:gd name="connsiteX7" fmla="*/ 0 w 1600010"/>
              <a:gd name="connsiteY7" fmla="*/ 564484 h 2208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00010" h="2208014">
                <a:moveTo>
                  <a:pt x="0" y="564484"/>
                </a:moveTo>
                <a:lnTo>
                  <a:pt x="801499" y="0"/>
                </a:lnTo>
                <a:lnTo>
                  <a:pt x="1600650" y="564484"/>
                </a:lnTo>
                <a:lnTo>
                  <a:pt x="1600650" y="1673611"/>
                </a:lnTo>
                <a:lnTo>
                  <a:pt x="800325" y="2218361"/>
                </a:lnTo>
                <a:lnTo>
                  <a:pt x="0" y="1666998"/>
                </a:lnTo>
                <a:lnTo>
                  <a:pt x="0" y="564484"/>
                </a:lnTo>
                <a:lnTo>
                  <a:pt x="0" y="56448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wordArtVert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Cambria" panose="02040503050406030204" pitchFamily="18" charset="0"/>
              <a:cs typeface="+mn-cs"/>
            </a:endParaRP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1F1A1A7D-1BE7-41E8-AC2D-AE6B08947B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5404315" y="477385"/>
            <a:ext cx="266700" cy="3048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EE4C06B-38BA-4258-A35B-A740ADC05DF2}"/>
              </a:ext>
            </a:extLst>
          </p:cNvPr>
          <p:cNvGrpSpPr/>
          <p:nvPr userDrawn="1"/>
        </p:nvGrpSpPr>
        <p:grpSpPr>
          <a:xfrm>
            <a:off x="5376422" y="4427669"/>
            <a:ext cx="377904" cy="521508"/>
            <a:chOff x="5302993" y="4340636"/>
            <a:chExt cx="377904" cy="521508"/>
          </a:xfrm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90BBA3B-007E-49C2-B8B9-A965F9165FC7}"/>
                </a:ext>
              </a:extLst>
            </p:cNvPr>
            <p:cNvSpPr/>
            <p:nvPr userDrawn="1"/>
          </p:nvSpPr>
          <p:spPr>
            <a:xfrm>
              <a:off x="5302993" y="434063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C0C001C4-EE98-4465-8B7B-D8A818ED696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5367950" y="4472435"/>
              <a:ext cx="247990" cy="257910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F5648FF-6840-4E1E-B545-5ECC7A2C57F2}"/>
              </a:ext>
            </a:extLst>
          </p:cNvPr>
          <p:cNvGrpSpPr/>
          <p:nvPr userDrawn="1"/>
        </p:nvGrpSpPr>
        <p:grpSpPr>
          <a:xfrm>
            <a:off x="5348713" y="2408983"/>
            <a:ext cx="377904" cy="521508"/>
            <a:chOff x="5302993" y="2446026"/>
            <a:chExt cx="377904" cy="521508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C056E5A-50B8-4FF1-9AD8-E4003692D263}"/>
                </a:ext>
              </a:extLst>
            </p:cNvPr>
            <p:cNvSpPr/>
            <p:nvPr userDrawn="1"/>
          </p:nvSpPr>
          <p:spPr>
            <a:xfrm>
              <a:off x="5302993" y="244602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D99936D8-E816-4D48-9BE0-BF3EFC24B9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5379372" y="2567719"/>
              <a:ext cx="225147" cy="278123"/>
            </a:xfrm>
            <a:prstGeom prst="rect">
              <a:avLst/>
            </a:prstGeom>
          </p:spPr>
        </p:pic>
      </p:grpSp>
      <p:sp>
        <p:nvSpPr>
          <p:cNvPr id="30" name="Freeform 29">
            <a:extLst>
              <a:ext uri="{FF2B5EF4-FFF2-40B4-BE49-F238E27FC236}">
                <a16:creationId xmlns:a16="http://schemas.microsoft.com/office/drawing/2014/main" id="{1A0F3B76-3382-9248-82C0-E233897683C1}"/>
              </a:ext>
            </a:extLst>
          </p:cNvPr>
          <p:cNvSpPr/>
          <p:nvPr/>
        </p:nvSpPr>
        <p:spPr>
          <a:xfrm>
            <a:off x="0" y="5458906"/>
            <a:ext cx="3131911" cy="1406635"/>
          </a:xfrm>
          <a:custGeom>
            <a:avLst/>
            <a:gdLst>
              <a:gd name="connsiteX0" fmla="*/ 1069980 w 3131911"/>
              <a:gd name="connsiteY0" fmla="*/ 0 h 1406635"/>
              <a:gd name="connsiteX1" fmla="*/ 3131911 w 3131911"/>
              <a:gd name="connsiteY1" fmla="*/ 1406635 h 1406635"/>
              <a:gd name="connsiteX2" fmla="*/ 0 w 3131911"/>
              <a:gd name="connsiteY2" fmla="*/ 1406635 h 1406635"/>
              <a:gd name="connsiteX3" fmla="*/ 0 w 3131911"/>
              <a:gd name="connsiteY3" fmla="*/ 751147 h 1406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1911" h="1406635">
                <a:moveTo>
                  <a:pt x="1069980" y="0"/>
                </a:moveTo>
                <a:lnTo>
                  <a:pt x="3131911" y="1406635"/>
                </a:lnTo>
                <a:lnTo>
                  <a:pt x="0" y="1406635"/>
                </a:lnTo>
                <a:lnTo>
                  <a:pt x="0" y="75114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rgbClr val="073262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Freeform 30">
            <a:extLst>
              <a:ext uri="{FF2B5EF4-FFF2-40B4-BE49-F238E27FC236}">
                <a16:creationId xmlns:a16="http://schemas.microsoft.com/office/drawing/2014/main" id="{9B2D83E3-7F99-7D4F-8872-D013EB064C64}"/>
              </a:ext>
            </a:extLst>
          </p:cNvPr>
          <p:cNvSpPr/>
          <p:nvPr/>
        </p:nvSpPr>
        <p:spPr>
          <a:xfrm flipH="1">
            <a:off x="1463681" y="5720587"/>
            <a:ext cx="2037801" cy="1137413"/>
          </a:xfrm>
          <a:custGeom>
            <a:avLst/>
            <a:gdLst>
              <a:gd name="connsiteX0" fmla="*/ 1647526 w 2037801"/>
              <a:gd name="connsiteY0" fmla="*/ 0 h 1137413"/>
              <a:gd name="connsiteX1" fmla="*/ 0 w 2037801"/>
              <a:gd name="connsiteY1" fmla="*/ 1137412 h 1137413"/>
              <a:gd name="connsiteX2" fmla="*/ 4 w 2037801"/>
              <a:gd name="connsiteY2" fmla="*/ 1137413 h 1137413"/>
              <a:gd name="connsiteX3" fmla="*/ 763670 w 2037801"/>
              <a:gd name="connsiteY3" fmla="*/ 1137413 h 1137413"/>
              <a:gd name="connsiteX4" fmla="*/ 2037801 w 2037801"/>
              <a:gd name="connsiteY4" fmla="*/ 260147 h 113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7801" h="1137413">
                <a:moveTo>
                  <a:pt x="1647526" y="0"/>
                </a:moveTo>
                <a:lnTo>
                  <a:pt x="0" y="1137412"/>
                </a:lnTo>
                <a:lnTo>
                  <a:pt x="4" y="1137413"/>
                </a:lnTo>
                <a:lnTo>
                  <a:pt x="763670" y="1137413"/>
                </a:lnTo>
                <a:lnTo>
                  <a:pt x="2037801" y="26014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AFECE-15A3-416B-B50A-EBF3EED088E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AAC0CD-3BB0-4D9E-A908-07FDE5E8E65A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0611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7FBD1F2-8F8E-4ED2-B94D-477D0A3B1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813"/>
          <a:stretch/>
        </p:blipFill>
        <p:spPr>
          <a:xfrm>
            <a:off x="5247" y="390296"/>
            <a:ext cx="4772841" cy="6858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A701FB85-C272-4F67-9376-36F249DCAFBF}"/>
              </a:ext>
            </a:extLst>
          </p:cNvPr>
          <p:cNvSpPr/>
          <p:nvPr/>
        </p:nvSpPr>
        <p:spPr>
          <a:xfrm>
            <a:off x="3020406" y="0"/>
            <a:ext cx="917159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1ED8F4F-C0B6-428A-8156-2EAE02418D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1160" y="2408983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accent3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2219E8E-B81B-42A6-9777-5061C48EB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38869" y="4427669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D3371-D5A0-444B-8039-E662C6EAB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11160" y="390296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1A0F3B76-3382-9248-82C0-E233897683C1}"/>
              </a:ext>
            </a:extLst>
          </p:cNvPr>
          <p:cNvSpPr/>
          <p:nvPr/>
        </p:nvSpPr>
        <p:spPr>
          <a:xfrm>
            <a:off x="0" y="5458906"/>
            <a:ext cx="3131911" cy="1406635"/>
          </a:xfrm>
          <a:custGeom>
            <a:avLst/>
            <a:gdLst>
              <a:gd name="connsiteX0" fmla="*/ 1069980 w 3131911"/>
              <a:gd name="connsiteY0" fmla="*/ 0 h 1406635"/>
              <a:gd name="connsiteX1" fmla="*/ 3131911 w 3131911"/>
              <a:gd name="connsiteY1" fmla="*/ 1406635 h 1406635"/>
              <a:gd name="connsiteX2" fmla="*/ 0 w 3131911"/>
              <a:gd name="connsiteY2" fmla="*/ 1406635 h 1406635"/>
              <a:gd name="connsiteX3" fmla="*/ 0 w 3131911"/>
              <a:gd name="connsiteY3" fmla="*/ 751147 h 1406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1911" h="1406635">
                <a:moveTo>
                  <a:pt x="1069980" y="0"/>
                </a:moveTo>
                <a:lnTo>
                  <a:pt x="3131911" y="1406635"/>
                </a:lnTo>
                <a:lnTo>
                  <a:pt x="0" y="1406635"/>
                </a:lnTo>
                <a:lnTo>
                  <a:pt x="0" y="75114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rgbClr val="073262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30">
            <a:extLst>
              <a:ext uri="{FF2B5EF4-FFF2-40B4-BE49-F238E27FC236}">
                <a16:creationId xmlns:a16="http://schemas.microsoft.com/office/drawing/2014/main" id="{9B2D83E3-7F99-7D4F-8872-D013EB064C64}"/>
              </a:ext>
            </a:extLst>
          </p:cNvPr>
          <p:cNvSpPr/>
          <p:nvPr/>
        </p:nvSpPr>
        <p:spPr>
          <a:xfrm flipH="1">
            <a:off x="1463681" y="5720587"/>
            <a:ext cx="2037801" cy="1137413"/>
          </a:xfrm>
          <a:custGeom>
            <a:avLst/>
            <a:gdLst>
              <a:gd name="connsiteX0" fmla="*/ 1647526 w 2037801"/>
              <a:gd name="connsiteY0" fmla="*/ 0 h 1137413"/>
              <a:gd name="connsiteX1" fmla="*/ 0 w 2037801"/>
              <a:gd name="connsiteY1" fmla="*/ 1137412 h 1137413"/>
              <a:gd name="connsiteX2" fmla="*/ 4 w 2037801"/>
              <a:gd name="connsiteY2" fmla="*/ 1137413 h 1137413"/>
              <a:gd name="connsiteX3" fmla="*/ 763670 w 2037801"/>
              <a:gd name="connsiteY3" fmla="*/ 1137413 h 1137413"/>
              <a:gd name="connsiteX4" fmla="*/ 2037801 w 2037801"/>
              <a:gd name="connsiteY4" fmla="*/ 260147 h 113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7801" h="1137413">
                <a:moveTo>
                  <a:pt x="1647526" y="0"/>
                </a:moveTo>
                <a:lnTo>
                  <a:pt x="0" y="1137412"/>
                </a:lnTo>
                <a:lnTo>
                  <a:pt x="4" y="1137413"/>
                </a:lnTo>
                <a:lnTo>
                  <a:pt x="763670" y="1137413"/>
                </a:lnTo>
                <a:lnTo>
                  <a:pt x="2037801" y="26014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00D3F3F-CEDE-AA4A-B072-12C37EE83EF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AAC0CD-3BB0-4D9E-A908-07FDE5E8E65A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A23EC76-A22A-47BD-BB6E-CAADBA2F82A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4671103-7E79-47FF-8825-80F398220656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AFECE-15A3-416B-B50A-EBF3EED088E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1189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05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9C8454E-BB72-479B-8325-AC89FEA19C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02" y="136604"/>
            <a:ext cx="12192000" cy="6857999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E1BFC2F-99FE-45E8-9D6F-546CAB2241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3385E9-575A-4E97-BE38-0A19A73B40A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EECBC3-0434-4E5B-80EB-F18E5858D660}"/>
              </a:ext>
            </a:extLst>
          </p:cNvPr>
          <p:cNvCxnSpPr>
            <a:cxnSpLocks/>
          </p:cNvCxnSpPr>
          <p:nvPr userDrawn="1"/>
        </p:nvCxnSpPr>
        <p:spPr>
          <a:xfrm>
            <a:off x="442799" y="3214819"/>
            <a:ext cx="4932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34">
            <a:extLst>
              <a:ext uri="{FF2B5EF4-FFF2-40B4-BE49-F238E27FC236}">
                <a16:creationId xmlns:a16="http://schemas.microsoft.com/office/drawing/2014/main" id="{5A1ED52C-F219-40BD-AD78-26E909BD31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442799" y="3565604"/>
            <a:ext cx="2810216" cy="116834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59C7DB8-50DE-4F4D-8D3A-E1B644BEBD0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13" name="Freeform: Shape 38">
            <a:extLst>
              <a:ext uri="{FF2B5EF4-FFF2-40B4-BE49-F238E27FC236}">
                <a16:creationId xmlns:a16="http://schemas.microsoft.com/office/drawing/2014/main" id="{5BEACAC3-A4D3-4A5A-BCBD-6A6FB904BDBC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C2A9049B-2A71-4DF7-A59B-F291023D31D2}"/>
              </a:ext>
            </a:extLst>
          </p:cNvPr>
          <p:cNvSpPr/>
          <p:nvPr userDrawn="1"/>
        </p:nvSpPr>
        <p:spPr>
          <a:xfrm>
            <a:off x="10121759" y="2893156"/>
            <a:ext cx="2070240" cy="2020997"/>
          </a:xfrm>
          <a:custGeom>
            <a:avLst/>
            <a:gdLst>
              <a:gd name="connsiteX0" fmla="*/ 803684 w 2070240"/>
              <a:gd name="connsiteY0" fmla="*/ 0 h 2020997"/>
              <a:gd name="connsiteX1" fmla="*/ 2069497 w 2070240"/>
              <a:gd name="connsiteY1" fmla="*/ 889314 h 2020997"/>
              <a:gd name="connsiteX2" fmla="*/ 2069597 w 2070240"/>
              <a:gd name="connsiteY2" fmla="*/ 713297 h 2020997"/>
              <a:gd name="connsiteX3" fmla="*/ 2070240 w 2070240"/>
              <a:gd name="connsiteY3" fmla="*/ 713739 h 2020997"/>
              <a:gd name="connsiteX4" fmla="*/ 2069497 w 2070240"/>
              <a:gd name="connsiteY4" fmla="*/ 2020997 h 2020997"/>
              <a:gd name="connsiteX5" fmla="*/ 0 w 2070240"/>
              <a:gd name="connsiteY5" fmla="*/ 567044 h 202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0240" h="2020997">
                <a:moveTo>
                  <a:pt x="803684" y="0"/>
                </a:moveTo>
                <a:lnTo>
                  <a:pt x="2069497" y="889314"/>
                </a:lnTo>
                <a:lnTo>
                  <a:pt x="2069597" y="713297"/>
                </a:lnTo>
                <a:lnTo>
                  <a:pt x="2070240" y="713739"/>
                </a:lnTo>
                <a:lnTo>
                  <a:pt x="2069497" y="2020997"/>
                </a:lnTo>
                <a:lnTo>
                  <a:pt x="0" y="567044"/>
                </a:lnTo>
                <a:close/>
              </a:path>
            </a:pathLst>
          </a:custGeom>
          <a:gradFill>
            <a:gsLst>
              <a:gs pos="21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9388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1013A4B-2C3A-4DE4-AACD-0C2F7C1BFAF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5775" y="-19896"/>
            <a:ext cx="12219085" cy="6891750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1875275 w 8131604"/>
              <a:gd name="connsiteY4" fmla="*/ 0 h 6877896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0 h 6877896"/>
              <a:gd name="connsiteX1" fmla="*/ 8537299 w 8537299"/>
              <a:gd name="connsiteY1" fmla="*/ 4343205 h 6877896"/>
              <a:gd name="connsiteX2" fmla="*/ 8534755 w 8537299"/>
              <a:gd name="connsiteY2" fmla="*/ 6877896 h 6877896"/>
              <a:gd name="connsiteX3" fmla="*/ 405695 w 8537299"/>
              <a:gd name="connsiteY3" fmla="*/ 6877896 h 6877896"/>
              <a:gd name="connsiteX4" fmla="*/ 1332935 w 8537299"/>
              <a:gd name="connsiteY4" fmla="*/ 3441969 h 6877896"/>
              <a:gd name="connsiteX5" fmla="*/ 2280970 w 8537299"/>
              <a:gd name="connsiteY5" fmla="*/ 0 h 6877896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927240 w 8131604"/>
              <a:gd name="connsiteY4" fmla="*/ 3441969 h 6877896"/>
              <a:gd name="connsiteX5" fmla="*/ 1875275 w 8131604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0 w 10044545"/>
              <a:gd name="connsiteY4" fmla="*/ 19896 h 6877896"/>
              <a:gd name="connsiteX5" fmla="*/ 3788216 w 10044545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526473 w 10044545"/>
              <a:gd name="connsiteY4" fmla="*/ 1945678 h 6877896"/>
              <a:gd name="connsiteX5" fmla="*/ 0 w 10044545"/>
              <a:gd name="connsiteY5" fmla="*/ 19896 h 6877896"/>
              <a:gd name="connsiteX6" fmla="*/ 3788216 w 10044545"/>
              <a:gd name="connsiteY6" fmla="*/ 0 h 6877896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2687782 w 12205854"/>
              <a:gd name="connsiteY4" fmla="*/ 1945678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13855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43896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96234 h 6987984"/>
              <a:gd name="connsiteX1" fmla="*/ 12205854 w 12217165"/>
              <a:gd name="connsiteY1" fmla="*/ 4439439 h 6987984"/>
              <a:gd name="connsiteX2" fmla="*/ 12217165 w 12217165"/>
              <a:gd name="connsiteY2" fmla="*/ 6987984 h 6987984"/>
              <a:gd name="connsiteX3" fmla="*/ 4074250 w 12217165"/>
              <a:gd name="connsiteY3" fmla="*/ 6974130 h 6987984"/>
              <a:gd name="connsiteX4" fmla="*/ 13855 w 12217165"/>
              <a:gd name="connsiteY4" fmla="*/ 6946421 h 6987984"/>
              <a:gd name="connsiteX5" fmla="*/ 0 w 12217165"/>
              <a:gd name="connsiteY5" fmla="*/ 1612421 h 6987984"/>
              <a:gd name="connsiteX6" fmla="*/ 2161309 w 12217165"/>
              <a:gd name="connsiteY6" fmla="*/ 116130 h 6987984"/>
              <a:gd name="connsiteX7" fmla="*/ 5949525 w 12217165"/>
              <a:gd name="connsiteY7" fmla="*/ 96234 h 6987984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49724 w 12217364"/>
              <a:gd name="connsiteY0" fmla="*/ 0 h 6891750"/>
              <a:gd name="connsiteX1" fmla="*/ 12206053 w 12217364"/>
              <a:gd name="connsiteY1" fmla="*/ 4343205 h 6891750"/>
              <a:gd name="connsiteX2" fmla="*/ 12217364 w 12217364"/>
              <a:gd name="connsiteY2" fmla="*/ 6891750 h 6891750"/>
              <a:gd name="connsiteX3" fmla="*/ 4074449 w 12217364"/>
              <a:gd name="connsiteY3" fmla="*/ 6877896 h 6891750"/>
              <a:gd name="connsiteX4" fmla="*/ 14054 w 12217364"/>
              <a:gd name="connsiteY4" fmla="*/ 6850187 h 6891750"/>
              <a:gd name="connsiteX5" fmla="*/ 199 w 12217364"/>
              <a:gd name="connsiteY5" fmla="*/ 1516187 h 6891750"/>
              <a:gd name="connsiteX6" fmla="*/ 22741 w 12217364"/>
              <a:gd name="connsiteY6" fmla="*/ 19896 h 6891750"/>
              <a:gd name="connsiteX7" fmla="*/ 5949724 w 12217364"/>
              <a:gd name="connsiteY7" fmla="*/ 0 h 6891750"/>
              <a:gd name="connsiteX0" fmla="*/ 5949936 w 12217576"/>
              <a:gd name="connsiteY0" fmla="*/ 0 h 6891750"/>
              <a:gd name="connsiteX1" fmla="*/ 12206265 w 12217576"/>
              <a:gd name="connsiteY1" fmla="*/ 4343205 h 6891750"/>
              <a:gd name="connsiteX2" fmla="*/ 12217576 w 12217576"/>
              <a:gd name="connsiteY2" fmla="*/ 6891750 h 6891750"/>
              <a:gd name="connsiteX3" fmla="*/ 4074661 w 12217576"/>
              <a:gd name="connsiteY3" fmla="*/ 6877896 h 6891750"/>
              <a:gd name="connsiteX4" fmla="*/ 14266 w 12217576"/>
              <a:gd name="connsiteY4" fmla="*/ 6850187 h 6891750"/>
              <a:gd name="connsiteX5" fmla="*/ 411 w 12217576"/>
              <a:gd name="connsiteY5" fmla="*/ 1516187 h 6891750"/>
              <a:gd name="connsiteX6" fmla="*/ 7455 w 12217576"/>
              <a:gd name="connsiteY6" fmla="*/ 19896 h 6891750"/>
              <a:gd name="connsiteX7" fmla="*/ 5949936 w 12217576"/>
              <a:gd name="connsiteY7" fmla="*/ 0 h 6891750"/>
              <a:gd name="connsiteX0" fmla="*/ 5951445 w 12219085"/>
              <a:gd name="connsiteY0" fmla="*/ 0 h 6891750"/>
              <a:gd name="connsiteX1" fmla="*/ 12207774 w 12219085"/>
              <a:gd name="connsiteY1" fmla="*/ 4343205 h 6891750"/>
              <a:gd name="connsiteX2" fmla="*/ 12219085 w 12219085"/>
              <a:gd name="connsiteY2" fmla="*/ 6891750 h 6891750"/>
              <a:gd name="connsiteX3" fmla="*/ 4076170 w 12219085"/>
              <a:gd name="connsiteY3" fmla="*/ 6877896 h 6891750"/>
              <a:gd name="connsiteX4" fmla="*/ 1261 w 12219085"/>
              <a:gd name="connsiteY4" fmla="*/ 6879216 h 6891750"/>
              <a:gd name="connsiteX5" fmla="*/ 1920 w 12219085"/>
              <a:gd name="connsiteY5" fmla="*/ 1516187 h 6891750"/>
              <a:gd name="connsiteX6" fmla="*/ 8964 w 12219085"/>
              <a:gd name="connsiteY6" fmla="*/ 19896 h 6891750"/>
              <a:gd name="connsiteX7" fmla="*/ 5951445 w 12219085"/>
              <a:gd name="connsiteY7" fmla="*/ 0 h 689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9085" h="6891750">
                <a:moveTo>
                  <a:pt x="5951445" y="0"/>
                </a:moveTo>
                <a:lnTo>
                  <a:pt x="12207774" y="4343205"/>
                </a:lnTo>
                <a:cubicBezTo>
                  <a:pt x="12211544" y="5192720"/>
                  <a:pt x="12215315" y="6042235"/>
                  <a:pt x="12219085" y="6891750"/>
                </a:cubicBezTo>
                <a:lnTo>
                  <a:pt x="4076170" y="6877896"/>
                </a:lnTo>
                <a:lnTo>
                  <a:pt x="1261" y="6879216"/>
                </a:lnTo>
                <a:cubicBezTo>
                  <a:pt x="-3357" y="5110452"/>
                  <a:pt x="6538" y="3284951"/>
                  <a:pt x="1920" y="1516187"/>
                </a:cubicBezTo>
                <a:cubicBezTo>
                  <a:pt x="-898" y="1001925"/>
                  <a:pt x="11782" y="518660"/>
                  <a:pt x="8964" y="19896"/>
                </a:cubicBezTo>
                <a:lnTo>
                  <a:pt x="5951445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DFDCD53E-B970-474F-A296-7F5D3D3670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2596681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E96BF9C-3A9B-4F3E-9F61-1D941B653E9B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CD4190-9BC7-4476-AF83-E6D1A2BFB31D}"/>
              </a:ext>
            </a:extLst>
          </p:cNvPr>
          <p:cNvSpPr/>
          <p:nvPr userDrawn="1"/>
        </p:nvSpPr>
        <p:spPr>
          <a:xfrm rot="4191016">
            <a:off x="560557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84BD3FC-E6DB-474F-B265-92A120F91168}"/>
              </a:ext>
            </a:extLst>
          </p:cNvPr>
          <p:cNvSpPr/>
          <p:nvPr userDrawn="1"/>
        </p:nvSpPr>
        <p:spPr>
          <a:xfrm flipH="1">
            <a:off x="9184940" y="2369821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1414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ght Triangle 8">
            <a:extLst>
              <a:ext uri="{FF2B5EF4-FFF2-40B4-BE49-F238E27FC236}">
                <a16:creationId xmlns:a16="http://schemas.microsoft.com/office/drawing/2014/main" id="{5F0F5E84-3D08-463C-A2F4-3F622F79D6AE}"/>
              </a:ext>
            </a:extLst>
          </p:cNvPr>
          <p:cNvSpPr/>
          <p:nvPr userDrawn="1"/>
        </p:nvSpPr>
        <p:spPr>
          <a:xfrm rot="16200000">
            <a:off x="9386887" y="4069666"/>
            <a:ext cx="2805111" cy="280511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6635DDF-EA99-074A-B8AA-6DB89B54130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88272" y="1212712"/>
            <a:ext cx="8103729" cy="5645288"/>
          </a:xfrm>
          <a:custGeom>
            <a:avLst/>
            <a:gdLst>
              <a:gd name="connsiteX0" fmla="*/ 8103729 w 8103729"/>
              <a:gd name="connsiteY0" fmla="*/ 0 h 5645288"/>
              <a:gd name="connsiteX1" fmla="*/ 8103729 w 8103729"/>
              <a:gd name="connsiteY1" fmla="*/ 4023746 h 5645288"/>
              <a:gd name="connsiteX2" fmla="*/ 5764894 w 8103729"/>
              <a:gd name="connsiteY2" fmla="*/ 5645288 h 5645288"/>
              <a:gd name="connsiteX3" fmla="*/ 0 w 8103729"/>
              <a:gd name="connsiteY3" fmla="*/ 5645288 h 5645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03729" h="5645288">
                <a:moveTo>
                  <a:pt x="8103729" y="0"/>
                </a:moveTo>
                <a:lnTo>
                  <a:pt x="8103729" y="4023746"/>
                </a:lnTo>
                <a:lnTo>
                  <a:pt x="5764894" y="5645288"/>
                </a:lnTo>
                <a:lnTo>
                  <a:pt x="0" y="5645288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8871D4E-8962-41E4-B7BC-D6881361F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3AB3759-2ABA-419B-8B4A-9D837809ED6D}"/>
              </a:ext>
            </a:extLst>
          </p:cNvPr>
          <p:cNvCxnSpPr/>
          <p:nvPr userDrawn="1"/>
        </p:nvCxnSpPr>
        <p:spPr>
          <a:xfrm>
            <a:off x="442800" y="3214819"/>
            <a:ext cx="4932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34">
            <a:extLst>
              <a:ext uri="{FF2B5EF4-FFF2-40B4-BE49-F238E27FC236}">
                <a16:creationId xmlns:a16="http://schemas.microsoft.com/office/drawing/2014/main" id="{60D24665-7834-4CC0-8EA5-C724896E98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42800" y="3565604"/>
            <a:ext cx="2810216" cy="116834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7D8CA00-0351-4439-80FC-0A747C09242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15" name="Freeform: Shape 38">
            <a:extLst>
              <a:ext uri="{FF2B5EF4-FFF2-40B4-BE49-F238E27FC236}">
                <a16:creationId xmlns:a16="http://schemas.microsoft.com/office/drawing/2014/main" id="{D7F1981D-B15C-4509-BD6A-04D49D3FAFB5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20">
            <a:extLst>
              <a:ext uri="{FF2B5EF4-FFF2-40B4-BE49-F238E27FC236}">
                <a16:creationId xmlns:a16="http://schemas.microsoft.com/office/drawing/2014/main" id="{3F6CD97A-AEFF-4042-B3F6-70888095713D}"/>
              </a:ext>
            </a:extLst>
          </p:cNvPr>
          <p:cNvSpPr/>
          <p:nvPr userDrawn="1"/>
        </p:nvSpPr>
        <p:spPr>
          <a:xfrm flipH="1">
            <a:off x="8774596" y="4407877"/>
            <a:ext cx="3417404" cy="2450123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119338 w 4913588"/>
              <a:gd name="connsiteY3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2404721 w 4913588"/>
              <a:gd name="connsiteY3" fmla="*/ 2201134 h 2209800"/>
              <a:gd name="connsiteX4" fmla="*/ 119338 w 4913588"/>
              <a:gd name="connsiteY4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2404721 w 4913588"/>
              <a:gd name="connsiteY3" fmla="*/ 2201134 h 2209800"/>
              <a:gd name="connsiteX4" fmla="*/ 2404721 w 4913588"/>
              <a:gd name="connsiteY4" fmla="*/ 2201134 h 2209800"/>
              <a:gd name="connsiteX5" fmla="*/ 119338 w 4913588"/>
              <a:gd name="connsiteY5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4913588 w 4913588"/>
              <a:gd name="connsiteY3" fmla="*/ 2209800 h 2209800"/>
              <a:gd name="connsiteX4" fmla="*/ 2404721 w 4913588"/>
              <a:gd name="connsiteY4" fmla="*/ 2201134 h 2209800"/>
              <a:gd name="connsiteX5" fmla="*/ 2404721 w 4913588"/>
              <a:gd name="connsiteY5" fmla="*/ 2201134 h 2209800"/>
              <a:gd name="connsiteX6" fmla="*/ 119338 w 4913588"/>
              <a:gd name="connsiteY6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4913588 w 4913588"/>
              <a:gd name="connsiteY3" fmla="*/ 2209800 h 2209800"/>
              <a:gd name="connsiteX4" fmla="*/ 2404721 w 4913588"/>
              <a:gd name="connsiteY4" fmla="*/ 2201134 h 2209800"/>
              <a:gd name="connsiteX5" fmla="*/ 2404721 w 4913588"/>
              <a:gd name="connsiteY5" fmla="*/ 2201134 h 2209800"/>
              <a:gd name="connsiteX6" fmla="*/ 119338 w 4913588"/>
              <a:gd name="connsiteY6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2404721 w 4913588"/>
              <a:gd name="connsiteY3" fmla="*/ 398631 h 2209800"/>
              <a:gd name="connsiteX4" fmla="*/ 4913588 w 4913588"/>
              <a:gd name="connsiteY4" fmla="*/ 2209800 h 2209800"/>
              <a:gd name="connsiteX5" fmla="*/ 2404721 w 4913588"/>
              <a:gd name="connsiteY5" fmla="*/ 2201134 h 2209800"/>
              <a:gd name="connsiteX6" fmla="*/ 2404721 w 4913588"/>
              <a:gd name="connsiteY6" fmla="*/ 2201134 h 2209800"/>
              <a:gd name="connsiteX7" fmla="*/ 119338 w 4913588"/>
              <a:gd name="connsiteY7" fmla="*/ 2209800 h 2209800"/>
              <a:gd name="connsiteX0" fmla="*/ 4 w 4794254"/>
              <a:gd name="connsiteY0" fmla="*/ 1811169 h 1811169"/>
              <a:gd name="connsiteX1" fmla="*/ 2268056 w 4794254"/>
              <a:gd name="connsiteY1" fmla="*/ 0 h 1811169"/>
              <a:gd name="connsiteX2" fmla="*/ 2285387 w 4794254"/>
              <a:gd name="connsiteY2" fmla="*/ 0 h 1811169"/>
              <a:gd name="connsiteX3" fmla="*/ 4794254 w 4794254"/>
              <a:gd name="connsiteY3" fmla="*/ 1811169 h 1811169"/>
              <a:gd name="connsiteX4" fmla="*/ 2285387 w 4794254"/>
              <a:gd name="connsiteY4" fmla="*/ 1802503 h 1811169"/>
              <a:gd name="connsiteX5" fmla="*/ 2285387 w 4794254"/>
              <a:gd name="connsiteY5" fmla="*/ 1802503 h 1811169"/>
              <a:gd name="connsiteX6" fmla="*/ 4 w 4794254"/>
              <a:gd name="connsiteY6" fmla="*/ 1811169 h 1811169"/>
              <a:gd name="connsiteX0" fmla="*/ 17331 w 2526198"/>
              <a:gd name="connsiteY0" fmla="*/ 1802503 h 1811169"/>
              <a:gd name="connsiteX1" fmla="*/ 0 w 2526198"/>
              <a:gd name="connsiteY1" fmla="*/ 0 h 1811169"/>
              <a:gd name="connsiteX2" fmla="*/ 17331 w 2526198"/>
              <a:gd name="connsiteY2" fmla="*/ 0 h 1811169"/>
              <a:gd name="connsiteX3" fmla="*/ 2526198 w 2526198"/>
              <a:gd name="connsiteY3" fmla="*/ 1811169 h 1811169"/>
              <a:gd name="connsiteX4" fmla="*/ 17331 w 2526198"/>
              <a:gd name="connsiteY4" fmla="*/ 1802503 h 1811169"/>
              <a:gd name="connsiteX5" fmla="*/ 17331 w 2526198"/>
              <a:gd name="connsiteY5" fmla="*/ 1802503 h 181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6198" h="1811169">
                <a:moveTo>
                  <a:pt x="17331" y="1802503"/>
                </a:moveTo>
                <a:lnTo>
                  <a:pt x="0" y="0"/>
                </a:lnTo>
                <a:lnTo>
                  <a:pt x="17331" y="0"/>
                </a:lnTo>
                <a:lnTo>
                  <a:pt x="2526198" y="1811169"/>
                </a:lnTo>
                <a:lnTo>
                  <a:pt x="17331" y="1802503"/>
                </a:lnTo>
                <a:lnTo>
                  <a:pt x="17331" y="1802503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86039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197EE4D-06D9-6D48-B606-48101EB68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14990" y="0"/>
            <a:ext cx="5724910" cy="6858000"/>
          </a:xfrm>
          <a:custGeom>
            <a:avLst/>
            <a:gdLst>
              <a:gd name="connsiteX0" fmla="*/ 3899193 w 5724910"/>
              <a:gd name="connsiteY0" fmla="*/ 0 h 6858000"/>
              <a:gd name="connsiteX1" fmla="*/ 5724910 w 5724910"/>
              <a:gd name="connsiteY1" fmla="*/ 0 h 6858000"/>
              <a:gd name="connsiteX2" fmla="*/ 5724910 w 5724910"/>
              <a:gd name="connsiteY2" fmla="*/ 4117441 h 6858000"/>
              <a:gd name="connsiteX3" fmla="*/ 1757271 w 5724910"/>
              <a:gd name="connsiteY3" fmla="*/ 6858000 h 6858000"/>
              <a:gd name="connsiteX4" fmla="*/ 0 w 5724910"/>
              <a:gd name="connsiteY4" fmla="*/ 6854510 h 6858000"/>
              <a:gd name="connsiteX5" fmla="*/ 10128 w 5724910"/>
              <a:gd name="connsiteY5" fmla="*/ 270433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24910" h="6858000">
                <a:moveTo>
                  <a:pt x="3899193" y="0"/>
                </a:moveTo>
                <a:lnTo>
                  <a:pt x="5724910" y="0"/>
                </a:lnTo>
                <a:lnTo>
                  <a:pt x="5724910" y="4117441"/>
                </a:lnTo>
                <a:lnTo>
                  <a:pt x="1757271" y="6858000"/>
                </a:lnTo>
                <a:lnTo>
                  <a:pt x="0" y="6854510"/>
                </a:lnTo>
                <a:lnTo>
                  <a:pt x="10128" y="270433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90C636B-5A5D-4399-980F-44E3735BC7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2415" y="2040219"/>
            <a:ext cx="4004632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6000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hank you</a:t>
            </a:r>
            <a:endParaRPr lang="en-GB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218638D0-EA79-4658-BBAF-F7CBC3D7A6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42416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8" name="Freeform: Shape 38">
            <a:extLst>
              <a:ext uri="{FF2B5EF4-FFF2-40B4-BE49-F238E27FC236}">
                <a16:creationId xmlns:a16="http://schemas.microsoft.com/office/drawing/2014/main" id="{88DD9336-317D-4740-9853-D4062BAB0838}"/>
              </a:ext>
            </a:extLst>
          </p:cNvPr>
          <p:cNvSpPr/>
          <p:nvPr userDrawn="1"/>
        </p:nvSpPr>
        <p:spPr>
          <a:xfrm>
            <a:off x="1173742" y="4827938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Freeform: Shape 38">
            <a:extLst>
              <a:ext uri="{FF2B5EF4-FFF2-40B4-BE49-F238E27FC236}">
                <a16:creationId xmlns:a16="http://schemas.microsoft.com/office/drawing/2014/main" id="{98B81505-8EBE-43E4-B7C6-0E608556BE6D}"/>
              </a:ext>
            </a:extLst>
          </p:cNvPr>
          <p:cNvSpPr/>
          <p:nvPr userDrawn="1"/>
        </p:nvSpPr>
        <p:spPr>
          <a:xfrm rot="10800000">
            <a:off x="137450" y="1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0"/>
                </a:schemeClr>
              </a:gs>
              <a:gs pos="74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F2F5D52-6D04-4B54-B1A2-680FF23FCC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9435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950E1F8B-3FCA-4834-843E-9369F84050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199" y="3281163"/>
            <a:ext cx="6397626" cy="1218593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98" y="1233488"/>
            <a:ext cx="6443999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3385E9-575A-4E97-BE38-0A19A73B40A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18DAEFC-EF40-4589-9F6B-5C1699274A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00000"/>
            <a:ext cx="6443998" cy="99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12" name="Freeform: Shape 38">
            <a:extLst>
              <a:ext uri="{FF2B5EF4-FFF2-40B4-BE49-F238E27FC236}">
                <a16:creationId xmlns:a16="http://schemas.microsoft.com/office/drawing/2014/main" id="{BF4677C3-BCF5-4855-9611-E85C96D9A70A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2D55CCF4-0B1D-4A3B-AD75-0E7051248497}"/>
              </a:ext>
            </a:extLst>
          </p:cNvPr>
          <p:cNvSpPr/>
          <p:nvPr userDrawn="1"/>
        </p:nvSpPr>
        <p:spPr>
          <a:xfrm>
            <a:off x="10121759" y="2893156"/>
            <a:ext cx="2070240" cy="2020997"/>
          </a:xfrm>
          <a:custGeom>
            <a:avLst/>
            <a:gdLst>
              <a:gd name="connsiteX0" fmla="*/ 803684 w 2070240"/>
              <a:gd name="connsiteY0" fmla="*/ 0 h 2020997"/>
              <a:gd name="connsiteX1" fmla="*/ 2069497 w 2070240"/>
              <a:gd name="connsiteY1" fmla="*/ 889314 h 2020997"/>
              <a:gd name="connsiteX2" fmla="*/ 2069597 w 2070240"/>
              <a:gd name="connsiteY2" fmla="*/ 713297 h 2020997"/>
              <a:gd name="connsiteX3" fmla="*/ 2070240 w 2070240"/>
              <a:gd name="connsiteY3" fmla="*/ 713739 h 2020997"/>
              <a:gd name="connsiteX4" fmla="*/ 2069497 w 2070240"/>
              <a:gd name="connsiteY4" fmla="*/ 2020997 h 2020997"/>
              <a:gd name="connsiteX5" fmla="*/ 0 w 2070240"/>
              <a:gd name="connsiteY5" fmla="*/ 567044 h 202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0240" h="2020997">
                <a:moveTo>
                  <a:pt x="803684" y="0"/>
                </a:moveTo>
                <a:lnTo>
                  <a:pt x="2069497" y="889314"/>
                </a:lnTo>
                <a:lnTo>
                  <a:pt x="2069597" y="713297"/>
                </a:lnTo>
                <a:lnTo>
                  <a:pt x="2070240" y="713739"/>
                </a:lnTo>
                <a:lnTo>
                  <a:pt x="2069497" y="2020997"/>
                </a:lnTo>
                <a:lnTo>
                  <a:pt x="0" y="567044"/>
                </a:lnTo>
                <a:close/>
              </a:path>
            </a:pathLst>
          </a:custGeom>
          <a:gradFill>
            <a:gsLst>
              <a:gs pos="21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30365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A67C8A7-566E-6245-9CD3-9765B4FA66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2800" y="1366979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24EB0EA-8635-6443-A050-B3327AB273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5360" y="1392819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1D83DD92-09D1-EE43-BC80-83A0DE3D952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FBCBEE40-2AEA-476A-BD9F-C1BB81200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417059"/>
            <a:ext cx="5049102" cy="57044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Agenda</a:t>
            </a:r>
            <a:endParaRPr lang="en-GB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BBB72AD8-123F-41E4-AA6D-10D40E0974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2800" y="2146908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6CA4F9AE-634E-4C58-9C8D-2B1FAD50BD7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15360" y="2172748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AB83DAD6-F2E4-42E1-A4EE-C687615A3E0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800" y="2899597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90EDD940-259E-4829-8E35-E18B2D80EE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5360" y="2925437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9">
            <a:extLst>
              <a:ext uri="{FF2B5EF4-FFF2-40B4-BE49-F238E27FC236}">
                <a16:creationId xmlns:a16="http://schemas.microsoft.com/office/drawing/2014/main" id="{9802C2BE-B1B2-4E86-82FE-3D0646E918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2800" y="367952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18EBD071-CF30-4469-9F10-CB42C7916FA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15360" y="370536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B3C1887B-BFF0-4968-B8C3-0F83E66524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2800" y="443410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AA1582F3-1BA9-4358-BFE5-9640A017A06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15360" y="445994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1D0E6C05-C89A-499C-9021-D2FEEC605C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800" y="5214035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C9F730AD-E09A-4443-8E8F-D5734BB2D7E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015360" y="5239875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28">
            <a:extLst>
              <a:ext uri="{FF2B5EF4-FFF2-40B4-BE49-F238E27FC236}">
                <a16:creationId xmlns:a16="http://schemas.microsoft.com/office/drawing/2014/main" id="{53D3D8CF-E605-4768-9603-689E5785C0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205400" y="1"/>
            <a:ext cx="6986601" cy="4853941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6601" h="4853941">
                <a:moveTo>
                  <a:pt x="0" y="0"/>
                </a:moveTo>
                <a:lnTo>
                  <a:pt x="5002307" y="0"/>
                </a:lnTo>
                <a:lnTo>
                  <a:pt x="6986601" y="1372945"/>
                </a:lnTo>
                <a:lnTo>
                  <a:pt x="6986601" y="4853941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0447E7-2370-40EB-9592-91B302D0C28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20A95C-EC8F-41D4-AF1A-5BAA8A39A130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8C5B83D-D9AA-4B70-AD78-85BFC25F5E85}"/>
              </a:ext>
            </a:extLst>
          </p:cNvPr>
          <p:cNvSpPr/>
          <p:nvPr userDrawn="1"/>
        </p:nvSpPr>
        <p:spPr>
          <a:xfrm rot="4191016">
            <a:off x="483992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B4700A33-6DF5-4783-B61A-C9245483BD6A}"/>
              </a:ext>
            </a:extLst>
          </p:cNvPr>
          <p:cNvSpPr/>
          <p:nvPr userDrawn="1"/>
        </p:nvSpPr>
        <p:spPr>
          <a:xfrm flipH="1">
            <a:off x="9184940" y="3117122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4" name="Freeform: Shape 18">
            <a:extLst>
              <a:ext uri="{FF2B5EF4-FFF2-40B4-BE49-F238E27FC236}">
                <a16:creationId xmlns:a16="http://schemas.microsoft.com/office/drawing/2014/main" id="{3EA723EF-E362-4384-AE04-AB89112E4BC0}"/>
              </a:ext>
            </a:extLst>
          </p:cNvPr>
          <p:cNvSpPr/>
          <p:nvPr userDrawn="1"/>
        </p:nvSpPr>
        <p:spPr>
          <a:xfrm rot="4191016">
            <a:off x="10193741" y="-235643"/>
            <a:ext cx="2181945" cy="1879451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8884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8884" y="724009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1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67374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059D8B05-D21B-4C78-89BD-EB314603F8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E244E71-2C6D-4FAE-9016-5F18B979812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3855" y="-11575"/>
            <a:ext cx="12217165" cy="6869575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1875275 w 8131604"/>
              <a:gd name="connsiteY4" fmla="*/ 0 h 6877896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0 h 6877896"/>
              <a:gd name="connsiteX1" fmla="*/ 8537299 w 8537299"/>
              <a:gd name="connsiteY1" fmla="*/ 4343205 h 6877896"/>
              <a:gd name="connsiteX2" fmla="*/ 8534755 w 8537299"/>
              <a:gd name="connsiteY2" fmla="*/ 6877896 h 6877896"/>
              <a:gd name="connsiteX3" fmla="*/ 405695 w 8537299"/>
              <a:gd name="connsiteY3" fmla="*/ 6877896 h 6877896"/>
              <a:gd name="connsiteX4" fmla="*/ 1332935 w 8537299"/>
              <a:gd name="connsiteY4" fmla="*/ 3441969 h 6877896"/>
              <a:gd name="connsiteX5" fmla="*/ 2280970 w 8537299"/>
              <a:gd name="connsiteY5" fmla="*/ 0 h 6877896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927240 w 8131604"/>
              <a:gd name="connsiteY4" fmla="*/ 3441969 h 6877896"/>
              <a:gd name="connsiteX5" fmla="*/ 1875275 w 8131604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0 w 10044545"/>
              <a:gd name="connsiteY4" fmla="*/ 19896 h 6877896"/>
              <a:gd name="connsiteX5" fmla="*/ 3788216 w 10044545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526473 w 10044545"/>
              <a:gd name="connsiteY4" fmla="*/ 1945678 h 6877896"/>
              <a:gd name="connsiteX5" fmla="*/ 0 w 10044545"/>
              <a:gd name="connsiteY5" fmla="*/ 19896 h 6877896"/>
              <a:gd name="connsiteX6" fmla="*/ 3788216 w 10044545"/>
              <a:gd name="connsiteY6" fmla="*/ 0 h 6877896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2687782 w 12205854"/>
              <a:gd name="connsiteY4" fmla="*/ 1945678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13855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43896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96234 h 6987984"/>
              <a:gd name="connsiteX1" fmla="*/ 12205854 w 12217165"/>
              <a:gd name="connsiteY1" fmla="*/ 4439439 h 6987984"/>
              <a:gd name="connsiteX2" fmla="*/ 12217165 w 12217165"/>
              <a:gd name="connsiteY2" fmla="*/ 6987984 h 6987984"/>
              <a:gd name="connsiteX3" fmla="*/ 4074250 w 12217165"/>
              <a:gd name="connsiteY3" fmla="*/ 6974130 h 6987984"/>
              <a:gd name="connsiteX4" fmla="*/ 13855 w 12217165"/>
              <a:gd name="connsiteY4" fmla="*/ 6946421 h 6987984"/>
              <a:gd name="connsiteX5" fmla="*/ 0 w 12217165"/>
              <a:gd name="connsiteY5" fmla="*/ 1612421 h 6987984"/>
              <a:gd name="connsiteX6" fmla="*/ 2161309 w 12217165"/>
              <a:gd name="connsiteY6" fmla="*/ 116130 h 6987984"/>
              <a:gd name="connsiteX7" fmla="*/ 5949525 w 12217165"/>
              <a:gd name="connsiteY7" fmla="*/ 96234 h 6987984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7789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7789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6265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61744 w 12229384"/>
              <a:gd name="connsiteY0" fmla="*/ 0 h 6891750"/>
              <a:gd name="connsiteX1" fmla="*/ 12218073 w 12229384"/>
              <a:gd name="connsiteY1" fmla="*/ 4343205 h 6891750"/>
              <a:gd name="connsiteX2" fmla="*/ 12229384 w 12229384"/>
              <a:gd name="connsiteY2" fmla="*/ 6891750 h 6891750"/>
              <a:gd name="connsiteX3" fmla="*/ 4086469 w 12229384"/>
              <a:gd name="connsiteY3" fmla="*/ 6862656 h 6891750"/>
              <a:gd name="connsiteX4" fmla="*/ 674 w 12229384"/>
              <a:gd name="connsiteY4" fmla="*/ 6860347 h 6891750"/>
              <a:gd name="connsiteX5" fmla="*/ 12219 w 12229384"/>
              <a:gd name="connsiteY5" fmla="*/ 1516187 h 6891750"/>
              <a:gd name="connsiteX6" fmla="*/ 2173528 w 12229384"/>
              <a:gd name="connsiteY6" fmla="*/ 19896 h 6891750"/>
              <a:gd name="connsiteX7" fmla="*/ 5961744 w 12229384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62656 h 6891750"/>
              <a:gd name="connsiteX4" fmla="*/ 8775 w 12217165"/>
              <a:gd name="connsiteY4" fmla="*/ 689082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8775 w 12217165"/>
              <a:gd name="connsiteY3" fmla="*/ 6890827 h 6891750"/>
              <a:gd name="connsiteX4" fmla="*/ 0 w 12217165"/>
              <a:gd name="connsiteY4" fmla="*/ 1516187 h 6891750"/>
              <a:gd name="connsiteX5" fmla="*/ 2161309 w 12217165"/>
              <a:gd name="connsiteY5" fmla="*/ 19896 h 6891750"/>
              <a:gd name="connsiteX6" fmla="*/ 5949525 w 12217165"/>
              <a:gd name="connsiteY6" fmla="*/ 0 h 689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17165" h="6891750">
                <a:moveTo>
                  <a:pt x="5949525" y="0"/>
                </a:moveTo>
                <a:lnTo>
                  <a:pt x="12205854" y="4343205"/>
                </a:lnTo>
                <a:cubicBezTo>
                  <a:pt x="12209624" y="5192720"/>
                  <a:pt x="12213395" y="6042235"/>
                  <a:pt x="12217165" y="6891750"/>
                </a:cubicBezTo>
                <a:lnTo>
                  <a:pt x="8775" y="6890827"/>
                </a:lnTo>
                <a:cubicBezTo>
                  <a:pt x="4157" y="5122063"/>
                  <a:pt x="4618" y="3284951"/>
                  <a:pt x="0" y="1516187"/>
                </a:cubicBezTo>
                <a:lnTo>
                  <a:pt x="2161309" y="19896"/>
                </a:lnTo>
                <a:lnTo>
                  <a:pt x="5949525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4434872"/>
            <a:ext cx="6397626" cy="121859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800" y="2335488"/>
            <a:ext cx="6443999" cy="381000"/>
          </a:xfrm>
          <a:prstGeom prst="rect">
            <a:avLst/>
          </a:prstGeom>
        </p:spPr>
        <p:txBody>
          <a:bodyPr lIns="0" tIns="0" rIns="360000" b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5C7979F-B5FA-491A-9674-811E416D3A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999782"/>
            <a:ext cx="6454310" cy="990000"/>
          </a:xfrm>
        </p:spPr>
        <p:txBody>
          <a:bodyPr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the deck</a:t>
            </a:r>
            <a:endParaRPr lang="en-GB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AA631FB-D42E-4C3F-8885-696AF4E9B4B2}"/>
              </a:ext>
            </a:extLst>
          </p:cNvPr>
          <p:cNvSpPr/>
          <p:nvPr userDrawn="1"/>
        </p:nvSpPr>
        <p:spPr>
          <a:xfrm rot="4191016">
            <a:off x="560557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2B9A1AF-97F2-4951-AD29-661ACC6A1482}"/>
              </a:ext>
            </a:extLst>
          </p:cNvPr>
          <p:cNvSpPr/>
          <p:nvPr userDrawn="1"/>
        </p:nvSpPr>
        <p:spPr>
          <a:xfrm flipH="1">
            <a:off x="9184940" y="2369821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BD8DDAA6-AFDC-48A0-BB6B-AC0E7FCC76A9}"/>
              </a:ext>
            </a:extLst>
          </p:cNvPr>
          <p:cNvSpPr/>
          <p:nvPr userDrawn="1"/>
        </p:nvSpPr>
        <p:spPr>
          <a:xfrm rot="17408984" flipH="1">
            <a:off x="-306984" y="-277922"/>
            <a:ext cx="2647720" cy="2280654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8884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8884" y="724009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1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86257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546BC35-35BA-4F18-BB54-7267E0AF31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9" name="Right Triangle 8">
            <a:extLst>
              <a:ext uri="{FF2B5EF4-FFF2-40B4-BE49-F238E27FC236}">
                <a16:creationId xmlns:a16="http://schemas.microsoft.com/office/drawing/2014/main" id="{52F038EE-63DB-4468-A7FF-D4C488C62278}"/>
              </a:ext>
            </a:extLst>
          </p:cNvPr>
          <p:cNvSpPr/>
          <p:nvPr userDrawn="1"/>
        </p:nvSpPr>
        <p:spPr>
          <a:xfrm rot="16200000">
            <a:off x="9386887" y="4069666"/>
            <a:ext cx="2805111" cy="2805111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0C92DC8-8F9B-FD4C-A423-93681EAA05B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4357" y="1202822"/>
            <a:ext cx="8127643" cy="5655179"/>
          </a:xfrm>
          <a:custGeom>
            <a:avLst/>
            <a:gdLst>
              <a:gd name="connsiteX0" fmla="*/ 8127643 w 8127643"/>
              <a:gd name="connsiteY0" fmla="*/ 0 h 5655179"/>
              <a:gd name="connsiteX1" fmla="*/ 8127643 w 8127643"/>
              <a:gd name="connsiteY1" fmla="*/ 4020543 h 5655179"/>
              <a:gd name="connsiteX2" fmla="*/ 5775413 w 8127643"/>
              <a:gd name="connsiteY2" fmla="*/ 5655179 h 5655179"/>
              <a:gd name="connsiteX3" fmla="*/ 0 w 8127643"/>
              <a:gd name="connsiteY3" fmla="*/ 5655179 h 5655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27643" h="5655179">
                <a:moveTo>
                  <a:pt x="8127643" y="0"/>
                </a:moveTo>
                <a:lnTo>
                  <a:pt x="8127643" y="4020543"/>
                </a:lnTo>
                <a:lnTo>
                  <a:pt x="5775413" y="5655179"/>
                </a:lnTo>
                <a:lnTo>
                  <a:pt x="0" y="565517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2376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lang="en-GB" sz="18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  <a:p>
            <a:pPr marL="0" lvl="0" indent="0" algn="ctr">
              <a:buFont typeface="Arial" panose="020B0604020202020204" pitchFamily="34" charset="0"/>
              <a:buNone/>
            </a:pPr>
            <a:endParaRPr lang="en-GB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0324D3F-C030-485A-A8C3-01CA627A791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873B3ECE-66FA-8F4A-9BA4-70589FB28FA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199" y="3281163"/>
            <a:ext cx="6397626" cy="1218593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36A979B9-FB94-CB41-BC9E-B6C559E0F5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7197" y="1233488"/>
            <a:ext cx="6443999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D50170-9A03-4DF0-ADB1-B9E0F3635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00000"/>
            <a:ext cx="6443998" cy="990001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C11DD6-F2E7-4DAD-A8D2-25B1960A815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42800" y="6480000"/>
            <a:ext cx="2396518" cy="123111"/>
          </a:xfrm>
        </p:spPr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3E106C1-E5A4-4F33-AEF9-E4AE65A838B4}"/>
              </a:ext>
            </a:extLst>
          </p:cNvPr>
          <p:cNvSpPr/>
          <p:nvPr userDrawn="1"/>
        </p:nvSpPr>
        <p:spPr>
          <a:xfrm rot="17391976" flipH="1">
            <a:off x="9340351" y="4575372"/>
            <a:ext cx="3055372" cy="2597595"/>
          </a:xfrm>
          <a:custGeom>
            <a:avLst/>
            <a:gdLst>
              <a:gd name="connsiteX0" fmla="*/ 0 w 4662314"/>
              <a:gd name="connsiteY0" fmla="*/ 3205489 h 3391128"/>
              <a:gd name="connsiteX1" fmla="*/ 513768 w 4662314"/>
              <a:gd name="connsiteY1" fmla="*/ 3391128 h 3391128"/>
              <a:gd name="connsiteX2" fmla="*/ 4662314 w 4662314"/>
              <a:gd name="connsiteY2" fmla="*/ 452233 h 3391128"/>
              <a:gd name="connsiteX3" fmla="*/ 4542036 w 4662314"/>
              <a:gd name="connsiteY3" fmla="*/ 0 h 3391128"/>
              <a:gd name="connsiteX0" fmla="*/ 0 w 4662314"/>
              <a:gd name="connsiteY0" fmla="*/ 3205489 h 3683558"/>
              <a:gd name="connsiteX1" fmla="*/ 1543623 w 4662314"/>
              <a:gd name="connsiteY1" fmla="*/ 3683558 h 3683558"/>
              <a:gd name="connsiteX2" fmla="*/ 4662314 w 4662314"/>
              <a:gd name="connsiteY2" fmla="*/ 452233 h 3683558"/>
              <a:gd name="connsiteX3" fmla="*/ 4542036 w 4662314"/>
              <a:gd name="connsiteY3" fmla="*/ 0 h 3683558"/>
              <a:gd name="connsiteX4" fmla="*/ 0 w 4662314"/>
              <a:gd name="connsiteY4" fmla="*/ 3205489 h 3683558"/>
              <a:gd name="connsiteX0" fmla="*/ 0 w 4662314"/>
              <a:gd name="connsiteY0" fmla="*/ 3205489 h 3744923"/>
              <a:gd name="connsiteX1" fmla="*/ 1586816 w 4662314"/>
              <a:gd name="connsiteY1" fmla="*/ 3744922 h 3744923"/>
              <a:gd name="connsiteX2" fmla="*/ 4662314 w 4662314"/>
              <a:gd name="connsiteY2" fmla="*/ 452233 h 3744923"/>
              <a:gd name="connsiteX3" fmla="*/ 4542036 w 4662314"/>
              <a:gd name="connsiteY3" fmla="*/ 0 h 3744923"/>
              <a:gd name="connsiteX4" fmla="*/ 0 w 4662314"/>
              <a:gd name="connsiteY4" fmla="*/ 3205489 h 3744923"/>
              <a:gd name="connsiteX0" fmla="*/ 0 w 4542036"/>
              <a:gd name="connsiteY0" fmla="*/ 3205489 h 3744922"/>
              <a:gd name="connsiteX1" fmla="*/ 1586816 w 4542036"/>
              <a:gd name="connsiteY1" fmla="*/ 3744922 h 3744922"/>
              <a:gd name="connsiteX2" fmla="*/ 3838762 w 4542036"/>
              <a:gd name="connsiteY2" fmla="*/ 2176681 h 3744922"/>
              <a:gd name="connsiteX3" fmla="*/ 4542036 w 4542036"/>
              <a:gd name="connsiteY3" fmla="*/ 0 h 3744922"/>
              <a:gd name="connsiteX4" fmla="*/ 0 w 4542036"/>
              <a:gd name="connsiteY4" fmla="*/ 3205489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838114 w 4541388"/>
              <a:gd name="connsiteY2" fmla="*/ 2176681 h 3744922"/>
              <a:gd name="connsiteX3" fmla="*/ 4541388 w 4541388"/>
              <a:gd name="connsiteY3" fmla="*/ 0 h 3744922"/>
              <a:gd name="connsiteX4" fmla="*/ 0 w 4541388"/>
              <a:gd name="connsiteY4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3838114 w 4541388"/>
              <a:gd name="connsiteY3" fmla="*/ 2176681 h 3744922"/>
              <a:gd name="connsiteX4" fmla="*/ 4541388 w 4541388"/>
              <a:gd name="connsiteY4" fmla="*/ 0 h 3744922"/>
              <a:gd name="connsiteX5" fmla="*/ 0 w 4541388"/>
              <a:gd name="connsiteY5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3838114 w 4541388"/>
              <a:gd name="connsiteY3" fmla="*/ 2176681 h 3744922"/>
              <a:gd name="connsiteX4" fmla="*/ 4541388 w 4541388"/>
              <a:gd name="connsiteY4" fmla="*/ 0 h 3744922"/>
              <a:gd name="connsiteX5" fmla="*/ 3906986 w 4541388"/>
              <a:gd name="connsiteY5" fmla="*/ 418650 h 3744922"/>
              <a:gd name="connsiteX6" fmla="*/ 0 w 4541388"/>
              <a:gd name="connsiteY6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4541388 w 4541388"/>
              <a:gd name="connsiteY3" fmla="*/ 0 h 3744922"/>
              <a:gd name="connsiteX4" fmla="*/ 3906986 w 4541388"/>
              <a:gd name="connsiteY4" fmla="*/ 418650 h 3744922"/>
              <a:gd name="connsiteX5" fmla="*/ 0 w 4541388"/>
              <a:gd name="connsiteY5" fmla="*/ 3179576 h 3744922"/>
              <a:gd name="connsiteX0" fmla="*/ 0 w 3906986"/>
              <a:gd name="connsiteY0" fmla="*/ 2760926 h 3326272"/>
              <a:gd name="connsiteX1" fmla="*/ 1586168 w 3906986"/>
              <a:gd name="connsiteY1" fmla="*/ 3326272 h 3326272"/>
              <a:gd name="connsiteX2" fmla="*/ 3117387 w 3906986"/>
              <a:gd name="connsiteY2" fmla="*/ 2233505 h 3326272"/>
              <a:gd name="connsiteX3" fmla="*/ 3906986 w 3906986"/>
              <a:gd name="connsiteY3" fmla="*/ 0 h 3326272"/>
              <a:gd name="connsiteX4" fmla="*/ 0 w 3906986"/>
              <a:gd name="connsiteY4" fmla="*/ 2760926 h 3326272"/>
              <a:gd name="connsiteX0" fmla="*/ 0 w 3944041"/>
              <a:gd name="connsiteY0" fmla="*/ 2791114 h 3356460"/>
              <a:gd name="connsiteX1" fmla="*/ 1586168 w 3944041"/>
              <a:gd name="connsiteY1" fmla="*/ 3356460 h 3356460"/>
              <a:gd name="connsiteX2" fmla="*/ 3117387 w 3944041"/>
              <a:gd name="connsiteY2" fmla="*/ 2263693 h 3356460"/>
              <a:gd name="connsiteX3" fmla="*/ 3944041 w 3944041"/>
              <a:gd name="connsiteY3" fmla="*/ 0 h 3356460"/>
              <a:gd name="connsiteX4" fmla="*/ 0 w 3944041"/>
              <a:gd name="connsiteY4" fmla="*/ 2791114 h 3356460"/>
              <a:gd name="connsiteX0" fmla="*/ 0 w 3944041"/>
              <a:gd name="connsiteY0" fmla="*/ 2791114 h 3353118"/>
              <a:gd name="connsiteX1" fmla="*/ 1576917 w 3944041"/>
              <a:gd name="connsiteY1" fmla="*/ 3353118 h 3353118"/>
              <a:gd name="connsiteX2" fmla="*/ 3117387 w 3944041"/>
              <a:gd name="connsiteY2" fmla="*/ 2263693 h 3353118"/>
              <a:gd name="connsiteX3" fmla="*/ 3944041 w 3944041"/>
              <a:gd name="connsiteY3" fmla="*/ 0 h 3353118"/>
              <a:gd name="connsiteX4" fmla="*/ 0 w 3944041"/>
              <a:gd name="connsiteY4" fmla="*/ 2791114 h 3353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4041" h="3353118">
                <a:moveTo>
                  <a:pt x="0" y="2791114"/>
                </a:moveTo>
                <a:lnTo>
                  <a:pt x="1576917" y="3353118"/>
                </a:lnTo>
                <a:lnTo>
                  <a:pt x="3117387" y="2263693"/>
                </a:lnTo>
                <a:lnTo>
                  <a:pt x="3944041" y="0"/>
                </a:lnTo>
                <a:lnTo>
                  <a:pt x="0" y="2791114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3666787-C34F-4060-9C0B-3567CC8D732A}"/>
              </a:ext>
            </a:extLst>
          </p:cNvPr>
          <p:cNvSpPr/>
          <p:nvPr userDrawn="1"/>
        </p:nvSpPr>
        <p:spPr>
          <a:xfrm rot="3299037">
            <a:off x="4967294" y="3351762"/>
            <a:ext cx="1106312" cy="5035605"/>
          </a:xfrm>
          <a:custGeom>
            <a:avLst/>
            <a:gdLst>
              <a:gd name="connsiteX0" fmla="*/ 0 w 1208279"/>
              <a:gd name="connsiteY0" fmla="*/ 444052 h 5841369"/>
              <a:gd name="connsiteX1" fmla="*/ 1208279 w 1208279"/>
              <a:gd name="connsiteY1" fmla="*/ 0 h 5841369"/>
              <a:gd name="connsiteX2" fmla="*/ 1208279 w 1208279"/>
              <a:gd name="connsiteY2" fmla="*/ 4116796 h 5841369"/>
              <a:gd name="connsiteX3" fmla="*/ 0 w 1208279"/>
              <a:gd name="connsiteY3" fmla="*/ 5841369 h 5841369"/>
              <a:gd name="connsiteX0" fmla="*/ 12488 w 1208279"/>
              <a:gd name="connsiteY0" fmla="*/ 290096 h 5841369"/>
              <a:gd name="connsiteX1" fmla="*/ 1208279 w 1208279"/>
              <a:gd name="connsiteY1" fmla="*/ 0 h 5841369"/>
              <a:gd name="connsiteX2" fmla="*/ 1208279 w 1208279"/>
              <a:gd name="connsiteY2" fmla="*/ 4116796 h 5841369"/>
              <a:gd name="connsiteX3" fmla="*/ 0 w 1208279"/>
              <a:gd name="connsiteY3" fmla="*/ 5841369 h 5841369"/>
              <a:gd name="connsiteX4" fmla="*/ 12488 w 1208279"/>
              <a:gd name="connsiteY4" fmla="*/ 290096 h 5841369"/>
              <a:gd name="connsiteX0" fmla="*/ 12488 w 1208279"/>
              <a:gd name="connsiteY0" fmla="*/ 386502 h 5937775"/>
              <a:gd name="connsiteX1" fmla="*/ 1118728 w 1208279"/>
              <a:gd name="connsiteY1" fmla="*/ 0 h 5937775"/>
              <a:gd name="connsiteX2" fmla="*/ 1208279 w 1208279"/>
              <a:gd name="connsiteY2" fmla="*/ 4213202 h 5937775"/>
              <a:gd name="connsiteX3" fmla="*/ 0 w 1208279"/>
              <a:gd name="connsiteY3" fmla="*/ 5937775 h 5937775"/>
              <a:gd name="connsiteX4" fmla="*/ 12488 w 1208279"/>
              <a:gd name="connsiteY4" fmla="*/ 386502 h 5937775"/>
              <a:gd name="connsiteX0" fmla="*/ 12488 w 1118728"/>
              <a:gd name="connsiteY0" fmla="*/ 386502 h 5937775"/>
              <a:gd name="connsiteX1" fmla="*/ 1118728 w 1118728"/>
              <a:gd name="connsiteY1" fmla="*/ 0 h 5937775"/>
              <a:gd name="connsiteX2" fmla="*/ 1098667 w 1118728"/>
              <a:gd name="connsiteY2" fmla="*/ 4377658 h 5937775"/>
              <a:gd name="connsiteX3" fmla="*/ 0 w 1118728"/>
              <a:gd name="connsiteY3" fmla="*/ 5937775 h 5937775"/>
              <a:gd name="connsiteX4" fmla="*/ 12488 w 1118728"/>
              <a:gd name="connsiteY4" fmla="*/ 386502 h 5937775"/>
              <a:gd name="connsiteX0" fmla="*/ 286229 w 1392469"/>
              <a:gd name="connsiteY0" fmla="*/ 386502 h 6395953"/>
              <a:gd name="connsiteX1" fmla="*/ 1392469 w 1392469"/>
              <a:gd name="connsiteY1" fmla="*/ 0 h 6395953"/>
              <a:gd name="connsiteX2" fmla="*/ 1372408 w 1392469"/>
              <a:gd name="connsiteY2" fmla="*/ 4377658 h 6395953"/>
              <a:gd name="connsiteX3" fmla="*/ 0 w 1392469"/>
              <a:gd name="connsiteY3" fmla="*/ 6395953 h 6395953"/>
              <a:gd name="connsiteX4" fmla="*/ 286229 w 1392469"/>
              <a:gd name="connsiteY4" fmla="*/ 386502 h 6395953"/>
              <a:gd name="connsiteX0" fmla="*/ 0 w 1405178"/>
              <a:gd name="connsiteY0" fmla="*/ 425228 h 6395953"/>
              <a:gd name="connsiteX1" fmla="*/ 1405178 w 1405178"/>
              <a:gd name="connsiteY1" fmla="*/ 0 h 6395953"/>
              <a:gd name="connsiteX2" fmla="*/ 1385117 w 1405178"/>
              <a:gd name="connsiteY2" fmla="*/ 4377658 h 6395953"/>
              <a:gd name="connsiteX3" fmla="*/ 12709 w 1405178"/>
              <a:gd name="connsiteY3" fmla="*/ 6395953 h 6395953"/>
              <a:gd name="connsiteX4" fmla="*/ 0 w 1405178"/>
              <a:gd name="connsiteY4" fmla="*/ 425228 h 6395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5178" h="6395953">
                <a:moveTo>
                  <a:pt x="0" y="425228"/>
                </a:moveTo>
                <a:lnTo>
                  <a:pt x="1405178" y="0"/>
                </a:lnTo>
                <a:lnTo>
                  <a:pt x="1385117" y="4377658"/>
                </a:lnTo>
                <a:cubicBezTo>
                  <a:pt x="1018895" y="4897697"/>
                  <a:pt x="378931" y="5875914"/>
                  <a:pt x="12709" y="6395953"/>
                </a:cubicBezTo>
                <a:cubicBezTo>
                  <a:pt x="12709" y="4596847"/>
                  <a:pt x="0" y="2224334"/>
                  <a:pt x="0" y="425228"/>
                </a:cubicBez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35819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6C145B5-FAED-4ECD-8026-AC6DFC2F67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0AF48DA9-E99B-4AAD-8AED-1F315BB61CAB}"/>
              </a:ext>
            </a:extLst>
          </p:cNvPr>
          <p:cNvSpPr/>
          <p:nvPr userDrawn="1"/>
        </p:nvSpPr>
        <p:spPr>
          <a:xfrm rot="5400000">
            <a:off x="0" y="1"/>
            <a:ext cx="3815466" cy="3815466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7132858-3690-C942-AE55-74072A035C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"/>
            <a:ext cx="5711211" cy="6857999"/>
          </a:xfrm>
          <a:custGeom>
            <a:avLst/>
            <a:gdLst>
              <a:gd name="connsiteX0" fmla="*/ 3888681 w 5711211"/>
              <a:gd name="connsiteY0" fmla="*/ 0 h 6857999"/>
              <a:gd name="connsiteX1" fmla="*/ 5711211 w 5711211"/>
              <a:gd name="connsiteY1" fmla="*/ 0 h 6857999"/>
              <a:gd name="connsiteX2" fmla="*/ 5711211 w 5711211"/>
              <a:gd name="connsiteY2" fmla="*/ 4103993 h 6857999"/>
              <a:gd name="connsiteX3" fmla="*/ 1739709 w 5711211"/>
              <a:gd name="connsiteY3" fmla="*/ 6857999 h 6857999"/>
              <a:gd name="connsiteX4" fmla="*/ 0 w 5711211"/>
              <a:gd name="connsiteY4" fmla="*/ 6857999 h 6857999"/>
              <a:gd name="connsiteX5" fmla="*/ 0 w 5711211"/>
              <a:gd name="connsiteY5" fmla="*/ 2714106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11211" h="6857999">
                <a:moveTo>
                  <a:pt x="3888681" y="0"/>
                </a:moveTo>
                <a:lnTo>
                  <a:pt x="5711211" y="0"/>
                </a:lnTo>
                <a:lnTo>
                  <a:pt x="5711211" y="4103993"/>
                </a:lnTo>
                <a:lnTo>
                  <a:pt x="1739709" y="6857999"/>
                </a:lnTo>
                <a:lnTo>
                  <a:pt x="0" y="6857999"/>
                </a:lnTo>
                <a:lnTo>
                  <a:pt x="0" y="2714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2414" y="2259127"/>
            <a:ext cx="4004633" cy="3810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Subtitle goes here</a:t>
            </a:r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2D878DF-45CE-48C4-ADBA-897AA41158B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F0A4E75-D008-4A3D-9E2B-EFA56AA2C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2415" y="3100375"/>
            <a:ext cx="4004632" cy="99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850966A-A907-44E5-AD4A-B2C25296B1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42415" y="4550622"/>
            <a:ext cx="4004632" cy="581046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5" name="Freeform: Shape 38">
            <a:extLst>
              <a:ext uri="{FF2B5EF4-FFF2-40B4-BE49-F238E27FC236}">
                <a16:creationId xmlns:a16="http://schemas.microsoft.com/office/drawing/2014/main" id="{CF0C42AB-56AB-4CD9-BC29-E642601C21CA}"/>
              </a:ext>
            </a:extLst>
          </p:cNvPr>
          <p:cNvSpPr/>
          <p:nvPr userDrawn="1"/>
        </p:nvSpPr>
        <p:spPr>
          <a:xfrm>
            <a:off x="1173742" y="4827938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Freeform: Shape 38">
            <a:extLst>
              <a:ext uri="{FF2B5EF4-FFF2-40B4-BE49-F238E27FC236}">
                <a16:creationId xmlns:a16="http://schemas.microsoft.com/office/drawing/2014/main" id="{64FAF79B-779C-47A3-89F1-134187E543EF}"/>
              </a:ext>
            </a:extLst>
          </p:cNvPr>
          <p:cNvSpPr/>
          <p:nvPr userDrawn="1"/>
        </p:nvSpPr>
        <p:spPr>
          <a:xfrm rot="10800000">
            <a:off x="137450" y="1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0"/>
                </a:schemeClr>
              </a:gs>
              <a:gs pos="74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D96DC3D-7488-477F-B5D0-C4E18D0F845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9325244" y="6480000"/>
            <a:ext cx="2396518" cy="123111"/>
          </a:xfrm>
        </p:spPr>
        <p:txBody>
          <a:bodyPr/>
          <a:lstStyle/>
          <a:p>
            <a:pPr algn="r"/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40390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>
            <a:extLst>
              <a:ext uri="{FF2B5EF4-FFF2-40B4-BE49-F238E27FC236}">
                <a16:creationId xmlns:a16="http://schemas.microsoft.com/office/drawing/2014/main" id="{4772341C-3A62-40E3-A271-7A1F4DBF12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8" name="Right Triangle 27">
            <a:extLst>
              <a:ext uri="{FF2B5EF4-FFF2-40B4-BE49-F238E27FC236}">
                <a16:creationId xmlns:a16="http://schemas.microsoft.com/office/drawing/2014/main" id="{B60DFC2C-07E8-4CAB-9821-5B5C80DE58B7}"/>
              </a:ext>
            </a:extLst>
          </p:cNvPr>
          <p:cNvSpPr/>
          <p:nvPr userDrawn="1"/>
        </p:nvSpPr>
        <p:spPr>
          <a:xfrm rot="10800000">
            <a:off x="9386887" y="0"/>
            <a:ext cx="2805111" cy="2805111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A67C8A7-566E-6245-9CD3-9765B4FA66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2800" y="1366979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24EB0EA-8635-6443-A050-B3327AB273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5360" y="1392819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1D83DD92-09D1-EE43-BC80-83A0DE3D952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FBCBEE40-2AEA-476A-BD9F-C1BB81200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417059"/>
            <a:ext cx="5049102" cy="57044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Agenda</a:t>
            </a:r>
            <a:endParaRPr lang="en-GB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BBB72AD8-123F-41E4-AA6D-10D40E0974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2800" y="2146908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6CA4F9AE-634E-4C58-9C8D-2B1FAD50BD7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15360" y="2172748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AB83DAD6-F2E4-42E1-A4EE-C687615A3E0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800" y="2899597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90EDD940-259E-4829-8E35-E18B2D80EE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5360" y="2925437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9">
            <a:extLst>
              <a:ext uri="{FF2B5EF4-FFF2-40B4-BE49-F238E27FC236}">
                <a16:creationId xmlns:a16="http://schemas.microsoft.com/office/drawing/2014/main" id="{9802C2BE-B1B2-4E86-82FE-3D0646E918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2800" y="367952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18EBD071-CF30-4469-9F10-CB42C7916FA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15360" y="370536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B3C1887B-BFF0-4968-B8C3-0F83E66524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2800" y="443410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AA1582F3-1BA9-4358-BFE5-9640A017A06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15360" y="445994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1D0E6C05-C89A-499C-9021-D2FEEC605C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800" y="5214035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C9F730AD-E09A-4443-8E8F-D5734BB2D7E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015360" y="5239875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28">
            <a:extLst>
              <a:ext uri="{FF2B5EF4-FFF2-40B4-BE49-F238E27FC236}">
                <a16:creationId xmlns:a16="http://schemas.microsoft.com/office/drawing/2014/main" id="{53D3D8CF-E605-4768-9603-689E5785C0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205400" y="1"/>
            <a:ext cx="6986601" cy="4853941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6601" h="4853941">
                <a:moveTo>
                  <a:pt x="0" y="0"/>
                </a:moveTo>
                <a:lnTo>
                  <a:pt x="5002307" y="0"/>
                </a:lnTo>
                <a:lnTo>
                  <a:pt x="6986601" y="1372945"/>
                </a:lnTo>
                <a:lnTo>
                  <a:pt x="6986601" y="4853941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0447E7-2370-40EB-9592-91B302D0C28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20A95C-EC8F-41D4-AF1A-5BAA8A39A130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8C5B83D-D9AA-4B70-AD78-85BFC25F5E85}"/>
              </a:ext>
            </a:extLst>
          </p:cNvPr>
          <p:cNvSpPr/>
          <p:nvPr userDrawn="1"/>
        </p:nvSpPr>
        <p:spPr>
          <a:xfrm rot="4191016">
            <a:off x="483992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B4700A33-6DF5-4783-B61A-C9245483BD6A}"/>
              </a:ext>
            </a:extLst>
          </p:cNvPr>
          <p:cNvSpPr/>
          <p:nvPr userDrawn="1"/>
        </p:nvSpPr>
        <p:spPr>
          <a:xfrm flipH="1">
            <a:off x="9184940" y="3117122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4" name="Freeform: Shape 18">
            <a:extLst>
              <a:ext uri="{FF2B5EF4-FFF2-40B4-BE49-F238E27FC236}">
                <a16:creationId xmlns:a16="http://schemas.microsoft.com/office/drawing/2014/main" id="{3EA723EF-E362-4384-AE04-AB89112E4BC0}"/>
              </a:ext>
            </a:extLst>
          </p:cNvPr>
          <p:cNvSpPr/>
          <p:nvPr userDrawn="1"/>
        </p:nvSpPr>
        <p:spPr>
          <a:xfrm rot="4191016">
            <a:off x="10193741" y="-235643"/>
            <a:ext cx="2181945" cy="1879451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8884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8884" y="724009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1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1059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82F7940D-EF79-4226-9BE8-F97579C66B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3" name="Freeform 58">
            <a:extLst>
              <a:ext uri="{FF2B5EF4-FFF2-40B4-BE49-F238E27FC236}">
                <a16:creationId xmlns:a16="http://schemas.microsoft.com/office/drawing/2014/main" id="{448B1C5E-0964-4F56-AE2F-8D78251DFB2E}"/>
              </a:ext>
            </a:extLst>
          </p:cNvPr>
          <p:cNvSpPr/>
          <p:nvPr userDrawn="1"/>
        </p:nvSpPr>
        <p:spPr>
          <a:xfrm flipH="1">
            <a:off x="6039992" y="4849927"/>
            <a:ext cx="5107358" cy="2019426"/>
          </a:xfrm>
          <a:custGeom>
            <a:avLst/>
            <a:gdLst>
              <a:gd name="connsiteX0" fmla="*/ 2885571 w 5107358"/>
              <a:gd name="connsiteY0" fmla="*/ 0 h 2019426"/>
              <a:gd name="connsiteX1" fmla="*/ 0 w 5107358"/>
              <a:gd name="connsiteY1" fmla="*/ 2019426 h 2019426"/>
              <a:gd name="connsiteX2" fmla="*/ 2277819 w 5107358"/>
              <a:gd name="connsiteY2" fmla="*/ 2019426 h 2019426"/>
              <a:gd name="connsiteX3" fmla="*/ 5107358 w 5107358"/>
              <a:gd name="connsiteY3" fmla="*/ 67456 h 2019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07358" h="2019426">
                <a:moveTo>
                  <a:pt x="2885571" y="0"/>
                </a:moveTo>
                <a:lnTo>
                  <a:pt x="0" y="2019426"/>
                </a:lnTo>
                <a:lnTo>
                  <a:pt x="2277819" y="2019426"/>
                </a:lnTo>
                <a:lnTo>
                  <a:pt x="5107358" y="67456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E8368AC7-44BD-41FB-9A75-B45905F2D0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3200" cy="686554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7DA1266-9152-4A32-8502-59116D5DE105}"/>
              </a:ext>
            </a:extLst>
          </p:cNvPr>
          <p:cNvSpPr txBox="1">
            <a:spLocks/>
          </p:cNvSpPr>
          <p:nvPr/>
        </p:nvSpPr>
        <p:spPr>
          <a:xfrm flipH="1">
            <a:off x="457196" y="6436977"/>
            <a:ext cx="542041" cy="1908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A285110E-A93C-E24B-BA01-8EFF0EF70079}" type="slidenum">
              <a:rPr lang="en-US" sz="800" b="1">
                <a:solidFill>
                  <a:schemeClr val="bg2"/>
                </a:solidFill>
                <a:latin typeface="+mn-lt"/>
                <a:ea typeface="Cambria" panose="02040503050406030204" pitchFamily="18" charset="0"/>
              </a:rPr>
              <a:pPr algn="l"/>
              <a:t>‹#›</a:t>
            </a:fld>
            <a:endParaRPr lang="en-US" b="1">
              <a:solidFill>
                <a:schemeClr val="bg2"/>
              </a:solidFill>
              <a:latin typeface="+mn-lt"/>
              <a:ea typeface="Cambria" panose="02040503050406030204" pitchFamily="18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72791443-6809-8D4F-9966-7CEE87C136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1366979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4FEA392-9CF1-B94F-BB23-E79DFB2BCC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5360" y="1392819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CC8DEF04-C6F4-3344-B4ED-32374CA7DC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888" y="6426211"/>
            <a:ext cx="2396518" cy="22225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8883B2D1-073D-4B5D-8039-E523985156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417059"/>
            <a:ext cx="5049102" cy="57044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Agenda</a:t>
            </a:r>
            <a:endParaRPr lang="en-GB"/>
          </a:p>
        </p:txBody>
      </p:sp>
      <p:sp>
        <p:nvSpPr>
          <p:cNvPr id="51" name="Picture Placeholder 26">
            <a:extLst>
              <a:ext uri="{FF2B5EF4-FFF2-40B4-BE49-F238E27FC236}">
                <a16:creationId xmlns:a16="http://schemas.microsoft.com/office/drawing/2014/main" id="{5E8F5516-B38A-484B-A47A-802A26955F8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10622" y="0"/>
            <a:ext cx="5400119" cy="5460274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119" h="5460274">
                <a:moveTo>
                  <a:pt x="0" y="0"/>
                </a:moveTo>
                <a:lnTo>
                  <a:pt x="5400119" y="0"/>
                </a:lnTo>
                <a:lnTo>
                  <a:pt x="5400119" y="3577239"/>
                </a:lnTo>
                <a:lnTo>
                  <a:pt x="2691728" y="5460274"/>
                </a:lnTo>
                <a:lnTo>
                  <a:pt x="0" y="357091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52" name="Text Placeholder 18">
            <a:extLst>
              <a:ext uri="{FF2B5EF4-FFF2-40B4-BE49-F238E27FC236}">
                <a16:creationId xmlns:a16="http://schemas.microsoft.com/office/drawing/2014/main" id="{B2A32391-3567-484A-869F-44FEECB6DB3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7199" y="2146908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8651DA9B-1C09-43C3-914E-FB51BCEDD25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15360" y="2172748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18">
            <a:extLst>
              <a:ext uri="{FF2B5EF4-FFF2-40B4-BE49-F238E27FC236}">
                <a16:creationId xmlns:a16="http://schemas.microsoft.com/office/drawing/2014/main" id="{4CB8E277-ACFD-43B0-A39F-BE7615C5525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7199" y="2899597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B2D19412-D286-490A-AF62-E31A0BF7D47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015360" y="2925437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19">
            <a:extLst>
              <a:ext uri="{FF2B5EF4-FFF2-40B4-BE49-F238E27FC236}">
                <a16:creationId xmlns:a16="http://schemas.microsoft.com/office/drawing/2014/main" id="{DF0C502E-776E-4776-8238-1FE1C83A84C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57199" y="367952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8EF4CACF-C03A-48C7-B822-754560D9C81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015360" y="370536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22">
            <a:extLst>
              <a:ext uri="{FF2B5EF4-FFF2-40B4-BE49-F238E27FC236}">
                <a16:creationId xmlns:a16="http://schemas.microsoft.com/office/drawing/2014/main" id="{674752F6-7BC7-4D47-8BD4-0F3C1888021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57199" y="443410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AF5D34F2-66E3-41B5-8AED-0BBF0E02971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15360" y="445994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23">
            <a:extLst>
              <a:ext uri="{FF2B5EF4-FFF2-40B4-BE49-F238E27FC236}">
                <a16:creationId xmlns:a16="http://schemas.microsoft.com/office/drawing/2014/main" id="{5E230149-BE4F-40D6-BD20-6F4E31060B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7199" y="5214035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6B3F4D62-F616-458E-A8DA-D16D04772D2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015360" y="5239875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CC542C48-A55C-4471-A9A2-F86C8F9C76FA}"/>
              </a:ext>
            </a:extLst>
          </p:cNvPr>
          <p:cNvSpPr txBox="1">
            <a:spLocks/>
          </p:cNvSpPr>
          <p:nvPr userDrawn="1"/>
        </p:nvSpPr>
        <p:spPr>
          <a:xfrm flipH="1">
            <a:off x="457196" y="6436977"/>
            <a:ext cx="542041" cy="1908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A285110E-A93C-E24B-BA01-8EFF0EF70079}" type="slidenum">
              <a:rPr lang="en-US" sz="800" b="1">
                <a:solidFill>
                  <a:schemeClr val="bg2"/>
                </a:solidFill>
                <a:latin typeface="+mn-lt"/>
                <a:ea typeface="Cambria" panose="02040503050406030204" pitchFamily="18" charset="0"/>
              </a:rPr>
              <a:pPr algn="l"/>
              <a:t>‹#›</a:t>
            </a:fld>
            <a:endParaRPr lang="en-US" b="1">
              <a:solidFill>
                <a:schemeClr val="bg2"/>
              </a:solidFill>
              <a:latin typeface="+mn-lt"/>
              <a:ea typeface="Cambria" panose="02040503050406030204" pitchFamily="18" charset="0"/>
            </a:endParaRP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568908CF-F714-4E88-AF35-787D043DF0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2400" cy="270176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D89F2555-353E-491E-B9B0-CCB5DF8A35F4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6" name="Freeform 56">
            <a:extLst>
              <a:ext uri="{FF2B5EF4-FFF2-40B4-BE49-F238E27FC236}">
                <a16:creationId xmlns:a16="http://schemas.microsoft.com/office/drawing/2014/main" id="{1EA7358F-3E9C-44B1-AA6B-15D6F32DCB12}"/>
              </a:ext>
            </a:extLst>
          </p:cNvPr>
          <p:cNvSpPr/>
          <p:nvPr userDrawn="1"/>
        </p:nvSpPr>
        <p:spPr>
          <a:xfrm rot="4196304">
            <a:off x="8884361" y="4991240"/>
            <a:ext cx="2563893" cy="2048405"/>
          </a:xfrm>
          <a:custGeom>
            <a:avLst/>
            <a:gdLst>
              <a:gd name="connsiteX0" fmla="*/ 0 w 2264587"/>
              <a:gd name="connsiteY0" fmla="*/ 1545382 h 1809276"/>
              <a:gd name="connsiteX1" fmla="*/ 2264587 w 2264587"/>
              <a:gd name="connsiteY1" fmla="*/ 0 h 1809276"/>
              <a:gd name="connsiteX2" fmla="*/ 2132172 w 2264587"/>
              <a:gd name="connsiteY2" fmla="*/ 291012 h 1809276"/>
              <a:gd name="connsiteX3" fmla="*/ 2093985 w 2264587"/>
              <a:gd name="connsiteY3" fmla="*/ 395084 h 1809276"/>
              <a:gd name="connsiteX4" fmla="*/ 64114 w 2264587"/>
              <a:gd name="connsiteY4" fmla="*/ 1809276 h 1809276"/>
              <a:gd name="connsiteX5" fmla="*/ 53640 w 2264587"/>
              <a:gd name="connsiteY5" fmla="*/ 1768484 h 1809276"/>
              <a:gd name="connsiteX6" fmla="*/ 0 w 2264587"/>
              <a:gd name="connsiteY6" fmla="*/ 1545382 h 1809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4587" h="1809276">
                <a:moveTo>
                  <a:pt x="0" y="1545382"/>
                </a:moveTo>
                <a:lnTo>
                  <a:pt x="2264587" y="0"/>
                </a:lnTo>
                <a:lnTo>
                  <a:pt x="2132172" y="291012"/>
                </a:lnTo>
                <a:lnTo>
                  <a:pt x="2093985" y="395084"/>
                </a:lnTo>
                <a:lnTo>
                  <a:pt x="64114" y="1809276"/>
                </a:lnTo>
                <a:lnTo>
                  <a:pt x="53640" y="1768484"/>
                </a:lnTo>
                <a:cubicBezTo>
                  <a:pt x="30342" y="1675775"/>
                  <a:pt x="31426" y="1665603"/>
                  <a:pt x="0" y="1545382"/>
                </a:cubicBez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4392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5530E5C5-C4EE-4F48-993F-0A393A6068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1" name="Freeform 20">
            <a:extLst>
              <a:ext uri="{FF2B5EF4-FFF2-40B4-BE49-F238E27FC236}">
                <a16:creationId xmlns:a16="http://schemas.microsoft.com/office/drawing/2014/main" id="{AD3AE23F-988B-564F-876F-C0158BED6563}"/>
              </a:ext>
            </a:extLst>
          </p:cNvPr>
          <p:cNvSpPr/>
          <p:nvPr/>
        </p:nvSpPr>
        <p:spPr>
          <a:xfrm>
            <a:off x="0" y="-15396"/>
            <a:ext cx="3119527" cy="2170074"/>
          </a:xfrm>
          <a:custGeom>
            <a:avLst/>
            <a:gdLst>
              <a:gd name="connsiteX0" fmla="*/ 0 w 3119527"/>
              <a:gd name="connsiteY0" fmla="*/ 0 h 2170074"/>
              <a:gd name="connsiteX1" fmla="*/ 3119527 w 3119527"/>
              <a:gd name="connsiteY1" fmla="*/ 1224 h 2170074"/>
              <a:gd name="connsiteX2" fmla="*/ 0 w 3119527"/>
              <a:gd name="connsiteY2" fmla="*/ 2170074 h 2170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19527" h="2170074">
                <a:moveTo>
                  <a:pt x="0" y="0"/>
                </a:moveTo>
                <a:lnTo>
                  <a:pt x="3119527" y="1224"/>
                </a:lnTo>
                <a:lnTo>
                  <a:pt x="0" y="2170074"/>
                </a:lnTo>
                <a:close/>
              </a:path>
            </a:pathLst>
          </a:custGeom>
          <a:gradFill>
            <a:gsLst>
              <a:gs pos="0">
                <a:srgbClr val="007199"/>
              </a:gs>
              <a:gs pos="100000">
                <a:srgbClr val="00AECF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3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64203167-F8D4-5045-BC57-8D5D46A2DF5D}"/>
              </a:ext>
            </a:extLst>
          </p:cNvPr>
          <p:cNvSpPr/>
          <p:nvPr/>
        </p:nvSpPr>
        <p:spPr>
          <a:xfrm>
            <a:off x="0" y="-9519"/>
            <a:ext cx="2249484" cy="1571852"/>
          </a:xfrm>
          <a:custGeom>
            <a:avLst/>
            <a:gdLst>
              <a:gd name="connsiteX0" fmla="*/ 2249484 w 2249484"/>
              <a:gd name="connsiteY0" fmla="*/ 0 h 1571852"/>
              <a:gd name="connsiteX1" fmla="*/ 0 w 2249484"/>
              <a:gd name="connsiteY1" fmla="*/ 1571852 h 1571852"/>
              <a:gd name="connsiteX2" fmla="*/ 0 w 2249484"/>
              <a:gd name="connsiteY2" fmla="*/ 5454 h 157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9484" h="1571852">
                <a:moveTo>
                  <a:pt x="2249484" y="0"/>
                </a:moveTo>
                <a:lnTo>
                  <a:pt x="0" y="1571852"/>
                </a:lnTo>
                <a:lnTo>
                  <a:pt x="0" y="5454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62000">
                <a:srgbClr val="073262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BD1E0693-F664-448A-9D7A-93A03D6B7E90}"/>
              </a:ext>
            </a:extLst>
          </p:cNvPr>
          <p:cNvSpPr/>
          <p:nvPr/>
        </p:nvSpPr>
        <p:spPr>
          <a:xfrm>
            <a:off x="-11983" y="1997929"/>
            <a:ext cx="887194" cy="1242604"/>
          </a:xfrm>
          <a:custGeom>
            <a:avLst/>
            <a:gdLst>
              <a:gd name="connsiteX0" fmla="*/ 19050 w 1838325"/>
              <a:gd name="connsiteY0" fmla="*/ 0 h 1276350"/>
              <a:gd name="connsiteX1" fmla="*/ 1838325 w 1838325"/>
              <a:gd name="connsiteY1" fmla="*/ 1276350 h 1276350"/>
              <a:gd name="connsiteX2" fmla="*/ 0 w 1838325"/>
              <a:gd name="connsiteY2" fmla="*/ 1276350 h 1276350"/>
              <a:gd name="connsiteX3" fmla="*/ 19050 w 1838325"/>
              <a:gd name="connsiteY3" fmla="*/ 0 h 1276350"/>
              <a:gd name="connsiteX0" fmla="*/ 0 w 1819275"/>
              <a:gd name="connsiteY0" fmla="*/ 0 h 1276350"/>
              <a:gd name="connsiteX1" fmla="*/ 1819275 w 1819275"/>
              <a:gd name="connsiteY1" fmla="*/ 1276350 h 1276350"/>
              <a:gd name="connsiteX2" fmla="*/ 20790 w 1819275"/>
              <a:gd name="connsiteY2" fmla="*/ 1276350 h 1276350"/>
              <a:gd name="connsiteX3" fmla="*/ 0 w 1819275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9407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2046931"/>
              <a:gd name="connsiteY0" fmla="*/ 0 h 1274281"/>
              <a:gd name="connsiteX1" fmla="*/ 2046931 w 2046931"/>
              <a:gd name="connsiteY1" fmla="*/ 1268074 h 1274281"/>
              <a:gd name="connsiteX2" fmla="*/ 3717 w 2046931"/>
              <a:gd name="connsiteY2" fmla="*/ 1274281 h 1274281"/>
              <a:gd name="connsiteX3" fmla="*/ 0 w 2046931"/>
              <a:gd name="connsiteY3" fmla="*/ 0 h 1274281"/>
              <a:gd name="connsiteX0" fmla="*/ 0 w 2046931"/>
              <a:gd name="connsiteY0" fmla="*/ 0 h 1141859"/>
              <a:gd name="connsiteX1" fmla="*/ 2046931 w 2046931"/>
              <a:gd name="connsiteY1" fmla="*/ 1135652 h 1141859"/>
              <a:gd name="connsiteX2" fmla="*/ 3717 w 2046931"/>
              <a:gd name="connsiteY2" fmla="*/ 1141859 h 1141859"/>
              <a:gd name="connsiteX3" fmla="*/ 0 w 2046931"/>
              <a:gd name="connsiteY3" fmla="*/ 0 h 1141859"/>
              <a:gd name="connsiteX0" fmla="*/ 19318 w 2066249"/>
              <a:gd name="connsiteY0" fmla="*/ 0 h 1994325"/>
              <a:gd name="connsiteX1" fmla="*/ 2066249 w 2066249"/>
              <a:gd name="connsiteY1" fmla="*/ 1135652 h 1994325"/>
              <a:gd name="connsiteX2" fmla="*/ 269 w 2066249"/>
              <a:gd name="connsiteY2" fmla="*/ 1994325 h 1994325"/>
              <a:gd name="connsiteX3" fmla="*/ 19318 w 2066249"/>
              <a:gd name="connsiteY3" fmla="*/ 0 h 1994325"/>
              <a:gd name="connsiteX0" fmla="*/ 19318 w 2043483"/>
              <a:gd name="connsiteY0" fmla="*/ 0 h 1994325"/>
              <a:gd name="connsiteX1" fmla="*/ 2043483 w 2043483"/>
              <a:gd name="connsiteY1" fmla="*/ 1110823 h 1994325"/>
              <a:gd name="connsiteX2" fmla="*/ 269 w 2043483"/>
              <a:gd name="connsiteY2" fmla="*/ 1994325 h 1994325"/>
              <a:gd name="connsiteX3" fmla="*/ 19318 w 2043483"/>
              <a:gd name="connsiteY3" fmla="*/ 0 h 1994325"/>
              <a:gd name="connsiteX0" fmla="*/ 8129 w 2032294"/>
              <a:gd name="connsiteY0" fmla="*/ 0 h 2159852"/>
              <a:gd name="connsiteX1" fmla="*/ 2032294 w 2032294"/>
              <a:gd name="connsiteY1" fmla="*/ 1110823 h 2159852"/>
              <a:gd name="connsiteX2" fmla="*/ 463 w 2032294"/>
              <a:gd name="connsiteY2" fmla="*/ 2159852 h 2159852"/>
              <a:gd name="connsiteX3" fmla="*/ 8129 w 2032294"/>
              <a:gd name="connsiteY3" fmla="*/ 0 h 2159852"/>
              <a:gd name="connsiteX0" fmla="*/ 0 w 2104430"/>
              <a:gd name="connsiteY0" fmla="*/ 0 h 1843086"/>
              <a:gd name="connsiteX1" fmla="*/ 2104430 w 2104430"/>
              <a:gd name="connsiteY1" fmla="*/ 794057 h 1843086"/>
              <a:gd name="connsiteX2" fmla="*/ 72599 w 2104430"/>
              <a:gd name="connsiteY2" fmla="*/ 1843086 h 1843086"/>
              <a:gd name="connsiteX3" fmla="*/ 0 w 2104430"/>
              <a:gd name="connsiteY3" fmla="*/ 0 h 1843086"/>
              <a:gd name="connsiteX0" fmla="*/ 0 w 2044232"/>
              <a:gd name="connsiteY0" fmla="*/ 0 h 2152308"/>
              <a:gd name="connsiteX1" fmla="*/ 2044232 w 2044232"/>
              <a:gd name="connsiteY1" fmla="*/ 1103279 h 2152308"/>
              <a:gd name="connsiteX2" fmla="*/ 12401 w 2044232"/>
              <a:gd name="connsiteY2" fmla="*/ 2152308 h 2152308"/>
              <a:gd name="connsiteX3" fmla="*/ 0 w 2044232"/>
              <a:gd name="connsiteY3" fmla="*/ 0 h 2152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4232" h="2152308">
                <a:moveTo>
                  <a:pt x="0" y="0"/>
                </a:moveTo>
                <a:lnTo>
                  <a:pt x="2044232" y="1103279"/>
                </a:lnTo>
                <a:lnTo>
                  <a:pt x="12401" y="2152308"/>
                </a:lnTo>
                <a:cubicBezTo>
                  <a:pt x="9265" y="1726858"/>
                  <a:pt x="3136" y="425450"/>
                  <a:pt x="0" y="0"/>
                </a:cubicBezTo>
                <a:close/>
              </a:path>
            </a:pathLst>
          </a:custGeom>
          <a:gradFill>
            <a:gsLst>
              <a:gs pos="9000">
                <a:srgbClr val="FF555F">
                  <a:alpha val="0"/>
                </a:srgbClr>
              </a:gs>
              <a:gs pos="100000">
                <a:srgbClr val="FF555F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5BDCB9F-EF00-4740-A039-6C5374289B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48114" y="0"/>
            <a:ext cx="8543886" cy="5941720"/>
          </a:xfrm>
          <a:custGeom>
            <a:avLst/>
            <a:gdLst>
              <a:gd name="connsiteX0" fmla="*/ 0 w 8543886"/>
              <a:gd name="connsiteY0" fmla="*/ 0 h 5941720"/>
              <a:gd name="connsiteX1" fmla="*/ 8543886 w 8543886"/>
              <a:gd name="connsiteY1" fmla="*/ 0 h 5941720"/>
              <a:gd name="connsiteX2" fmla="*/ 8543886 w 8543886"/>
              <a:gd name="connsiteY2" fmla="*/ 5941720 h 594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886" h="5941720">
                <a:moveTo>
                  <a:pt x="0" y="0"/>
                </a:moveTo>
                <a:lnTo>
                  <a:pt x="8543886" y="0"/>
                </a:lnTo>
                <a:lnTo>
                  <a:pt x="8543886" y="594172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4972997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B87D776C-79F6-D44E-9FFA-CA482D54AFB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ACEF1787-A2E1-458A-BF2D-A3E6A5C67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560262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1</a:t>
            </a:r>
            <a:endParaRPr lang="en-GB"/>
          </a:p>
        </p:txBody>
      </p:sp>
      <p:sp>
        <p:nvSpPr>
          <p:cNvPr id="20" name="Freeform 17">
            <a:extLst>
              <a:ext uri="{FF2B5EF4-FFF2-40B4-BE49-F238E27FC236}">
                <a16:creationId xmlns:a16="http://schemas.microsoft.com/office/drawing/2014/main" id="{667D5848-2C00-434A-95F4-0BB2E59ACF12}"/>
              </a:ext>
            </a:extLst>
          </p:cNvPr>
          <p:cNvSpPr/>
          <p:nvPr userDrawn="1"/>
        </p:nvSpPr>
        <p:spPr>
          <a:xfrm>
            <a:off x="0" y="-9519"/>
            <a:ext cx="2249484" cy="1571852"/>
          </a:xfrm>
          <a:custGeom>
            <a:avLst/>
            <a:gdLst>
              <a:gd name="connsiteX0" fmla="*/ 2249484 w 2249484"/>
              <a:gd name="connsiteY0" fmla="*/ 0 h 1571852"/>
              <a:gd name="connsiteX1" fmla="*/ 0 w 2249484"/>
              <a:gd name="connsiteY1" fmla="*/ 1571852 h 1571852"/>
              <a:gd name="connsiteX2" fmla="*/ 0 w 2249484"/>
              <a:gd name="connsiteY2" fmla="*/ 5454 h 157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9484" h="1571852">
                <a:moveTo>
                  <a:pt x="2249484" y="0"/>
                </a:moveTo>
                <a:lnTo>
                  <a:pt x="0" y="1571852"/>
                </a:lnTo>
                <a:lnTo>
                  <a:pt x="0" y="5454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62000">
                <a:srgbClr val="073262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B97E7568-823C-4CBD-8378-DB4576EA10FD}"/>
              </a:ext>
            </a:extLst>
          </p:cNvPr>
          <p:cNvSpPr/>
          <p:nvPr userDrawn="1"/>
        </p:nvSpPr>
        <p:spPr>
          <a:xfrm>
            <a:off x="-11983" y="1997929"/>
            <a:ext cx="887194" cy="1242604"/>
          </a:xfrm>
          <a:custGeom>
            <a:avLst/>
            <a:gdLst>
              <a:gd name="connsiteX0" fmla="*/ 19050 w 1838325"/>
              <a:gd name="connsiteY0" fmla="*/ 0 h 1276350"/>
              <a:gd name="connsiteX1" fmla="*/ 1838325 w 1838325"/>
              <a:gd name="connsiteY1" fmla="*/ 1276350 h 1276350"/>
              <a:gd name="connsiteX2" fmla="*/ 0 w 1838325"/>
              <a:gd name="connsiteY2" fmla="*/ 1276350 h 1276350"/>
              <a:gd name="connsiteX3" fmla="*/ 19050 w 1838325"/>
              <a:gd name="connsiteY3" fmla="*/ 0 h 1276350"/>
              <a:gd name="connsiteX0" fmla="*/ 0 w 1819275"/>
              <a:gd name="connsiteY0" fmla="*/ 0 h 1276350"/>
              <a:gd name="connsiteX1" fmla="*/ 1819275 w 1819275"/>
              <a:gd name="connsiteY1" fmla="*/ 1276350 h 1276350"/>
              <a:gd name="connsiteX2" fmla="*/ 20790 w 1819275"/>
              <a:gd name="connsiteY2" fmla="*/ 1276350 h 1276350"/>
              <a:gd name="connsiteX3" fmla="*/ 0 w 1819275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9407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2046931"/>
              <a:gd name="connsiteY0" fmla="*/ 0 h 1274281"/>
              <a:gd name="connsiteX1" fmla="*/ 2046931 w 2046931"/>
              <a:gd name="connsiteY1" fmla="*/ 1268074 h 1274281"/>
              <a:gd name="connsiteX2" fmla="*/ 3717 w 2046931"/>
              <a:gd name="connsiteY2" fmla="*/ 1274281 h 1274281"/>
              <a:gd name="connsiteX3" fmla="*/ 0 w 2046931"/>
              <a:gd name="connsiteY3" fmla="*/ 0 h 1274281"/>
              <a:gd name="connsiteX0" fmla="*/ 0 w 2046931"/>
              <a:gd name="connsiteY0" fmla="*/ 0 h 1141859"/>
              <a:gd name="connsiteX1" fmla="*/ 2046931 w 2046931"/>
              <a:gd name="connsiteY1" fmla="*/ 1135652 h 1141859"/>
              <a:gd name="connsiteX2" fmla="*/ 3717 w 2046931"/>
              <a:gd name="connsiteY2" fmla="*/ 1141859 h 1141859"/>
              <a:gd name="connsiteX3" fmla="*/ 0 w 2046931"/>
              <a:gd name="connsiteY3" fmla="*/ 0 h 1141859"/>
              <a:gd name="connsiteX0" fmla="*/ 19318 w 2066249"/>
              <a:gd name="connsiteY0" fmla="*/ 0 h 1994325"/>
              <a:gd name="connsiteX1" fmla="*/ 2066249 w 2066249"/>
              <a:gd name="connsiteY1" fmla="*/ 1135652 h 1994325"/>
              <a:gd name="connsiteX2" fmla="*/ 269 w 2066249"/>
              <a:gd name="connsiteY2" fmla="*/ 1994325 h 1994325"/>
              <a:gd name="connsiteX3" fmla="*/ 19318 w 2066249"/>
              <a:gd name="connsiteY3" fmla="*/ 0 h 1994325"/>
              <a:gd name="connsiteX0" fmla="*/ 19318 w 2043483"/>
              <a:gd name="connsiteY0" fmla="*/ 0 h 1994325"/>
              <a:gd name="connsiteX1" fmla="*/ 2043483 w 2043483"/>
              <a:gd name="connsiteY1" fmla="*/ 1110823 h 1994325"/>
              <a:gd name="connsiteX2" fmla="*/ 269 w 2043483"/>
              <a:gd name="connsiteY2" fmla="*/ 1994325 h 1994325"/>
              <a:gd name="connsiteX3" fmla="*/ 19318 w 2043483"/>
              <a:gd name="connsiteY3" fmla="*/ 0 h 1994325"/>
              <a:gd name="connsiteX0" fmla="*/ 8129 w 2032294"/>
              <a:gd name="connsiteY0" fmla="*/ 0 h 2159852"/>
              <a:gd name="connsiteX1" fmla="*/ 2032294 w 2032294"/>
              <a:gd name="connsiteY1" fmla="*/ 1110823 h 2159852"/>
              <a:gd name="connsiteX2" fmla="*/ 463 w 2032294"/>
              <a:gd name="connsiteY2" fmla="*/ 2159852 h 2159852"/>
              <a:gd name="connsiteX3" fmla="*/ 8129 w 2032294"/>
              <a:gd name="connsiteY3" fmla="*/ 0 h 2159852"/>
              <a:gd name="connsiteX0" fmla="*/ 0 w 2104430"/>
              <a:gd name="connsiteY0" fmla="*/ 0 h 1843086"/>
              <a:gd name="connsiteX1" fmla="*/ 2104430 w 2104430"/>
              <a:gd name="connsiteY1" fmla="*/ 794057 h 1843086"/>
              <a:gd name="connsiteX2" fmla="*/ 72599 w 2104430"/>
              <a:gd name="connsiteY2" fmla="*/ 1843086 h 1843086"/>
              <a:gd name="connsiteX3" fmla="*/ 0 w 2104430"/>
              <a:gd name="connsiteY3" fmla="*/ 0 h 1843086"/>
              <a:gd name="connsiteX0" fmla="*/ 0 w 2044232"/>
              <a:gd name="connsiteY0" fmla="*/ 0 h 2152308"/>
              <a:gd name="connsiteX1" fmla="*/ 2044232 w 2044232"/>
              <a:gd name="connsiteY1" fmla="*/ 1103279 h 2152308"/>
              <a:gd name="connsiteX2" fmla="*/ 12401 w 2044232"/>
              <a:gd name="connsiteY2" fmla="*/ 2152308 h 2152308"/>
              <a:gd name="connsiteX3" fmla="*/ 0 w 2044232"/>
              <a:gd name="connsiteY3" fmla="*/ 0 h 2152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4232" h="2152308">
                <a:moveTo>
                  <a:pt x="0" y="0"/>
                </a:moveTo>
                <a:lnTo>
                  <a:pt x="2044232" y="1103279"/>
                </a:lnTo>
                <a:lnTo>
                  <a:pt x="12401" y="2152308"/>
                </a:lnTo>
                <a:cubicBezTo>
                  <a:pt x="9265" y="1726858"/>
                  <a:pt x="3136" y="425450"/>
                  <a:pt x="0" y="0"/>
                </a:cubicBezTo>
                <a:close/>
              </a:path>
            </a:pathLst>
          </a:custGeom>
          <a:gradFill>
            <a:gsLst>
              <a:gs pos="9000">
                <a:srgbClr val="FF555F">
                  <a:alpha val="0"/>
                </a:srgbClr>
              </a:gs>
              <a:gs pos="100000">
                <a:srgbClr val="FF555F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2F7F916-A56A-41E0-AB16-47964E93C7B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77A96C76-0097-4274-9DA2-D1F8E7937F33}"/>
              </a:ext>
            </a:extLst>
          </p:cNvPr>
          <p:cNvSpPr/>
          <p:nvPr userDrawn="1"/>
        </p:nvSpPr>
        <p:spPr>
          <a:xfrm rot="4191016">
            <a:off x="3401016" y="-500975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D4A7702-172F-4F6B-8FA4-0097A75DF785}"/>
              </a:ext>
            </a:extLst>
          </p:cNvPr>
          <p:cNvSpPr/>
          <p:nvPr userDrawn="1"/>
        </p:nvSpPr>
        <p:spPr>
          <a:xfrm flipH="1">
            <a:off x="9184940" y="3705794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42176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BD80A45-67E2-49BA-9E9D-E5B6DFBDBD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37363E61-7CF1-A94D-B206-5B49A9CC19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28966" y="141209"/>
            <a:ext cx="9663034" cy="6716791"/>
          </a:xfrm>
          <a:custGeom>
            <a:avLst/>
            <a:gdLst>
              <a:gd name="connsiteX0" fmla="*/ 9663034 w 9663034"/>
              <a:gd name="connsiteY0" fmla="*/ 0 h 6716791"/>
              <a:gd name="connsiteX1" fmla="*/ 9663034 w 9663034"/>
              <a:gd name="connsiteY1" fmla="*/ 4814575 h 6716791"/>
              <a:gd name="connsiteX2" fmla="*/ 6941731 w 9663034"/>
              <a:gd name="connsiteY2" fmla="*/ 6716791 h 6716791"/>
              <a:gd name="connsiteX3" fmla="*/ 0 w 9663034"/>
              <a:gd name="connsiteY3" fmla="*/ 6716791 h 6716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63034" h="6716791">
                <a:moveTo>
                  <a:pt x="9663034" y="0"/>
                </a:moveTo>
                <a:lnTo>
                  <a:pt x="9663034" y="4814575"/>
                </a:lnTo>
                <a:lnTo>
                  <a:pt x="6941731" y="6716791"/>
                </a:lnTo>
                <a:lnTo>
                  <a:pt x="0" y="67167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2645439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6A93C236-DDC8-AB42-B158-C3A75D57257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EB28338C-0118-4339-8B11-1628D97DA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1246559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2</a:t>
            </a:r>
            <a:endParaRPr lang="en-GB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842DA984-1D2F-2140-8491-B516D776CAC4}"/>
              </a:ext>
            </a:extLst>
          </p:cNvPr>
          <p:cNvSpPr/>
          <p:nvPr userDrawn="1"/>
        </p:nvSpPr>
        <p:spPr>
          <a:xfrm>
            <a:off x="0" y="4910678"/>
            <a:ext cx="4279900" cy="1947322"/>
          </a:xfrm>
          <a:custGeom>
            <a:avLst/>
            <a:gdLst>
              <a:gd name="connsiteX0" fmla="*/ 1467015 w 4279900"/>
              <a:gd name="connsiteY0" fmla="*/ 0 h 1947322"/>
              <a:gd name="connsiteX1" fmla="*/ 4279900 w 4279900"/>
              <a:gd name="connsiteY1" fmla="*/ 1947322 h 1947322"/>
              <a:gd name="connsiteX2" fmla="*/ 0 w 4279900"/>
              <a:gd name="connsiteY2" fmla="*/ 1947322 h 1947322"/>
              <a:gd name="connsiteX3" fmla="*/ 0 w 4279900"/>
              <a:gd name="connsiteY3" fmla="*/ 1020577 h 1947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79900" h="1947322">
                <a:moveTo>
                  <a:pt x="1467015" y="0"/>
                </a:moveTo>
                <a:lnTo>
                  <a:pt x="4279900" y="1947322"/>
                </a:lnTo>
                <a:lnTo>
                  <a:pt x="0" y="1947322"/>
                </a:lnTo>
                <a:lnTo>
                  <a:pt x="0" y="102057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chemeClr val="accent2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321975A5-5726-314A-B546-DA0044580E14}"/>
              </a:ext>
            </a:extLst>
          </p:cNvPr>
          <p:cNvSpPr/>
          <p:nvPr userDrawn="1"/>
        </p:nvSpPr>
        <p:spPr>
          <a:xfrm>
            <a:off x="1745857" y="5440650"/>
            <a:ext cx="2442751" cy="1417350"/>
          </a:xfrm>
          <a:custGeom>
            <a:avLst/>
            <a:gdLst>
              <a:gd name="connsiteX0" fmla="*/ 2031703 w 2442751"/>
              <a:gd name="connsiteY0" fmla="*/ 0 h 1417350"/>
              <a:gd name="connsiteX1" fmla="*/ 2442751 w 2442751"/>
              <a:gd name="connsiteY1" fmla="*/ 267995 h 1417350"/>
              <a:gd name="connsiteX2" fmla="*/ 783199 w 2442751"/>
              <a:gd name="connsiteY2" fmla="*/ 1417350 h 1417350"/>
              <a:gd name="connsiteX3" fmla="*/ 0 w 2442751"/>
              <a:gd name="connsiteY3" fmla="*/ 1417350 h 141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2751" h="1417350">
                <a:moveTo>
                  <a:pt x="2031703" y="0"/>
                </a:moveTo>
                <a:lnTo>
                  <a:pt x="2442751" y="267995"/>
                </a:lnTo>
                <a:lnTo>
                  <a:pt x="783199" y="1417350"/>
                </a:lnTo>
                <a:lnTo>
                  <a:pt x="0" y="141735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8D284C-7154-401F-9518-EB35035E34D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30" name="Freeform 28">
            <a:extLst>
              <a:ext uri="{FF2B5EF4-FFF2-40B4-BE49-F238E27FC236}">
                <a16:creationId xmlns:a16="http://schemas.microsoft.com/office/drawing/2014/main" id="{447BDDC6-505D-4732-B677-284CBEC734D1}"/>
              </a:ext>
            </a:extLst>
          </p:cNvPr>
          <p:cNvSpPr/>
          <p:nvPr userDrawn="1"/>
        </p:nvSpPr>
        <p:spPr>
          <a:xfrm rot="10800000">
            <a:off x="9763185" y="-1"/>
            <a:ext cx="2428815" cy="1426848"/>
          </a:xfrm>
          <a:custGeom>
            <a:avLst/>
            <a:gdLst>
              <a:gd name="connsiteX0" fmla="*/ 991465 w 2428815"/>
              <a:gd name="connsiteY0" fmla="*/ 1426848 h 1426848"/>
              <a:gd name="connsiteX1" fmla="*/ 0 w 2428815"/>
              <a:gd name="connsiteY1" fmla="*/ 1426848 h 1426848"/>
              <a:gd name="connsiteX2" fmla="*/ 0 w 2428815"/>
              <a:gd name="connsiteY2" fmla="*/ 1283606 h 1426848"/>
              <a:gd name="connsiteX3" fmla="*/ 1845489 w 2428815"/>
              <a:gd name="connsiteY3" fmla="*/ 0 h 1426848"/>
              <a:gd name="connsiteX4" fmla="*/ 2428815 w 2428815"/>
              <a:gd name="connsiteY4" fmla="*/ 399380 h 1426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8815" h="1426848">
                <a:moveTo>
                  <a:pt x="991465" y="1426848"/>
                </a:moveTo>
                <a:lnTo>
                  <a:pt x="0" y="1426848"/>
                </a:lnTo>
                <a:lnTo>
                  <a:pt x="0" y="1283606"/>
                </a:lnTo>
                <a:lnTo>
                  <a:pt x="1845489" y="0"/>
                </a:lnTo>
                <a:lnTo>
                  <a:pt x="2428815" y="39938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9000">
                <a:schemeClr val="accent2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7A5D467-3077-47DD-939A-561425A39FE1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2"/>
                </a:solidFill>
              </a:rPr>
              <a:pPr lvl="0"/>
              <a:t>‹#›</a:t>
            </a:fld>
            <a:endParaRPr lang="en-US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0998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8692B022-D178-44D0-B9B8-E05E2EC2B4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3627052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519455F8-E443-2E47-84AE-B5E3AB72DCED}"/>
              </a:ext>
            </a:extLst>
          </p:cNvPr>
          <p:cNvSpPr/>
          <p:nvPr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7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41CDB2D-7FA5-4BA7-AEA0-FE2551E49C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260570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3</a:t>
            </a:r>
            <a:endParaRPr lang="en-GB"/>
          </a:p>
        </p:txBody>
      </p:sp>
      <p:sp>
        <p:nvSpPr>
          <p:cNvPr id="23" name="Freeform 18">
            <a:extLst>
              <a:ext uri="{FF2B5EF4-FFF2-40B4-BE49-F238E27FC236}">
                <a16:creationId xmlns:a16="http://schemas.microsoft.com/office/drawing/2014/main" id="{6F10E259-8957-4A25-A1FE-6233728BBD6A}"/>
              </a:ext>
            </a:extLst>
          </p:cNvPr>
          <p:cNvSpPr/>
          <p:nvPr userDrawn="1"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6E0280A-C911-477A-9CA7-94686E8EAF5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09E407E-3FDA-43A1-8AFD-D4C5DBD5A7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5C50561-D087-47A2-8E0E-B095F51A359E}"/>
              </a:ext>
            </a:extLst>
          </p:cNvPr>
          <p:cNvSpPr/>
          <p:nvPr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3"/>
              </a:gs>
              <a:gs pos="92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927166BE-C525-4B89-9317-E7513C3FD974}"/>
              </a:ext>
            </a:extLst>
          </p:cNvPr>
          <p:cNvSpPr/>
          <p:nvPr userDrawn="1"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3"/>
              </a:gs>
              <a:gs pos="92000">
                <a:schemeClr val="accent1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5857FA2-03C8-4CE8-ABB9-5858207705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8134"/>
            <a:ext cx="935900" cy="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1260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C34AE55B-54F4-4171-BB75-625116036B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4" name="Freeform 23">
            <a:extLst>
              <a:ext uri="{FF2B5EF4-FFF2-40B4-BE49-F238E27FC236}">
                <a16:creationId xmlns:a16="http://schemas.microsoft.com/office/drawing/2014/main" id="{D80F8535-1B37-C640-9522-9FFE23DA8F4E}"/>
              </a:ext>
            </a:extLst>
          </p:cNvPr>
          <p:cNvSpPr/>
          <p:nvPr/>
        </p:nvSpPr>
        <p:spPr>
          <a:xfrm>
            <a:off x="-6225" y="4376941"/>
            <a:ext cx="6589331" cy="2481059"/>
          </a:xfrm>
          <a:custGeom>
            <a:avLst/>
            <a:gdLst>
              <a:gd name="connsiteX0" fmla="*/ 3012948 w 6589331"/>
              <a:gd name="connsiteY0" fmla="*/ 0 h 2481059"/>
              <a:gd name="connsiteX1" fmla="*/ 6589331 w 6589331"/>
              <a:gd name="connsiteY1" fmla="*/ 2471153 h 2481059"/>
              <a:gd name="connsiteX2" fmla="*/ 5715 w 6589331"/>
              <a:gd name="connsiteY2" fmla="*/ 2481059 h 2481059"/>
              <a:gd name="connsiteX3" fmla="*/ 0 w 6589331"/>
              <a:gd name="connsiteY3" fmla="*/ 2472071 h 2481059"/>
              <a:gd name="connsiteX4" fmla="*/ 0 w 6589331"/>
              <a:gd name="connsiteY4" fmla="*/ 2094159 h 2481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9331" h="2481059">
                <a:moveTo>
                  <a:pt x="3012948" y="0"/>
                </a:moveTo>
                <a:lnTo>
                  <a:pt x="6589331" y="2471153"/>
                </a:lnTo>
                <a:lnTo>
                  <a:pt x="5715" y="2481059"/>
                </a:lnTo>
                <a:lnTo>
                  <a:pt x="0" y="2472071"/>
                </a:lnTo>
                <a:lnTo>
                  <a:pt x="0" y="2094159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E0BA6F1B-DB4E-4726-82C8-F69E131B99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74257" y="2540943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95833C23-279C-584E-A024-2A31807A9274}"/>
              </a:ext>
            </a:extLst>
          </p:cNvPr>
          <p:cNvSpPr/>
          <p:nvPr/>
        </p:nvSpPr>
        <p:spPr>
          <a:xfrm flipH="1">
            <a:off x="4047304" y="5413691"/>
            <a:ext cx="4092877" cy="1449275"/>
          </a:xfrm>
          <a:custGeom>
            <a:avLst/>
            <a:gdLst>
              <a:gd name="connsiteX0" fmla="*/ 2044180 w 4092877"/>
              <a:gd name="connsiteY0" fmla="*/ 0 h 1449275"/>
              <a:gd name="connsiteX1" fmla="*/ 0 w 4092877"/>
              <a:gd name="connsiteY1" fmla="*/ 1449275 h 1449275"/>
              <a:gd name="connsiteX2" fmla="*/ 4092877 w 4092877"/>
              <a:gd name="connsiteY2" fmla="*/ 1449275 h 1449275"/>
              <a:gd name="connsiteX3" fmla="*/ 3674121 w 4092877"/>
              <a:gd name="connsiteY3" fmla="*/ 1155304 h 1449275"/>
              <a:gd name="connsiteX4" fmla="*/ 2044180 w 4092877"/>
              <a:gd name="connsiteY4" fmla="*/ 0 h 14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2877" h="1449275">
                <a:moveTo>
                  <a:pt x="2044180" y="0"/>
                </a:moveTo>
                <a:lnTo>
                  <a:pt x="0" y="1449275"/>
                </a:lnTo>
                <a:lnTo>
                  <a:pt x="4092877" y="1449275"/>
                </a:lnTo>
                <a:lnTo>
                  <a:pt x="3674121" y="1155304"/>
                </a:lnTo>
                <a:cubicBezTo>
                  <a:pt x="3130807" y="770202"/>
                  <a:pt x="2569124" y="363906"/>
                  <a:pt x="204418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35000"/>
                </a:schemeClr>
              </a:gs>
              <a:gs pos="50000">
                <a:schemeClr val="accent2"/>
              </a:gs>
              <a:gs pos="98000">
                <a:schemeClr val="accent2">
                  <a:alpha val="3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6F00C93-F8EE-4584-A029-7488D3966167}"/>
              </a:ext>
            </a:extLst>
          </p:cNvPr>
          <p:cNvSpPr/>
          <p:nvPr/>
        </p:nvSpPr>
        <p:spPr>
          <a:xfrm>
            <a:off x="-511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CECEFDB-7B1D-4D53-AFB2-2A3E81E50E9C}"/>
              </a:ext>
            </a:extLst>
          </p:cNvPr>
          <p:cNvSpPr/>
          <p:nvPr/>
        </p:nvSpPr>
        <p:spPr>
          <a:xfrm flipH="1">
            <a:off x="7929175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997A980-7EC0-453E-ABF1-4DC83EB7CB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1239876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4</a:t>
            </a:r>
            <a:endParaRPr lang="en-GB"/>
          </a:p>
        </p:txBody>
      </p:sp>
      <p:sp>
        <p:nvSpPr>
          <p:cNvPr id="20" name="Freeform 23">
            <a:extLst>
              <a:ext uri="{FF2B5EF4-FFF2-40B4-BE49-F238E27FC236}">
                <a16:creationId xmlns:a16="http://schemas.microsoft.com/office/drawing/2014/main" id="{4AACB9C7-803C-4152-82CB-67927F253134}"/>
              </a:ext>
            </a:extLst>
          </p:cNvPr>
          <p:cNvSpPr/>
          <p:nvPr userDrawn="1"/>
        </p:nvSpPr>
        <p:spPr>
          <a:xfrm>
            <a:off x="-6225" y="4376941"/>
            <a:ext cx="6589331" cy="2481059"/>
          </a:xfrm>
          <a:custGeom>
            <a:avLst/>
            <a:gdLst>
              <a:gd name="connsiteX0" fmla="*/ 3012948 w 6589331"/>
              <a:gd name="connsiteY0" fmla="*/ 0 h 2481059"/>
              <a:gd name="connsiteX1" fmla="*/ 6589331 w 6589331"/>
              <a:gd name="connsiteY1" fmla="*/ 2471153 h 2481059"/>
              <a:gd name="connsiteX2" fmla="*/ 5715 w 6589331"/>
              <a:gd name="connsiteY2" fmla="*/ 2481059 h 2481059"/>
              <a:gd name="connsiteX3" fmla="*/ 0 w 6589331"/>
              <a:gd name="connsiteY3" fmla="*/ 2472071 h 2481059"/>
              <a:gd name="connsiteX4" fmla="*/ 0 w 6589331"/>
              <a:gd name="connsiteY4" fmla="*/ 2094159 h 2481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9331" h="2481059">
                <a:moveTo>
                  <a:pt x="3012948" y="0"/>
                </a:moveTo>
                <a:lnTo>
                  <a:pt x="6589331" y="2471153"/>
                </a:lnTo>
                <a:lnTo>
                  <a:pt x="5715" y="2481059"/>
                </a:lnTo>
                <a:lnTo>
                  <a:pt x="0" y="2472071"/>
                </a:lnTo>
                <a:lnTo>
                  <a:pt x="0" y="2094159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38F6177-211A-49BE-ABB9-97949A54E26E}"/>
              </a:ext>
            </a:extLst>
          </p:cNvPr>
          <p:cNvSpPr/>
          <p:nvPr userDrawn="1"/>
        </p:nvSpPr>
        <p:spPr>
          <a:xfrm>
            <a:off x="-511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D7EF89F-2526-415C-BBDF-59E49A45CE8B}"/>
              </a:ext>
            </a:extLst>
          </p:cNvPr>
          <p:cNvSpPr/>
          <p:nvPr userDrawn="1"/>
        </p:nvSpPr>
        <p:spPr>
          <a:xfrm flipH="1">
            <a:off x="7929175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480B66D4-A5F5-624A-B6B3-939B1AD7D213}"/>
              </a:ext>
            </a:extLst>
          </p:cNvPr>
          <p:cNvSpPr/>
          <p:nvPr userDrawn="1"/>
        </p:nvSpPr>
        <p:spPr>
          <a:xfrm flipH="1">
            <a:off x="5606920" y="4371977"/>
            <a:ext cx="6580566" cy="2490989"/>
          </a:xfrm>
          <a:custGeom>
            <a:avLst/>
            <a:gdLst>
              <a:gd name="connsiteX0" fmla="*/ 3009863 w 6580566"/>
              <a:gd name="connsiteY0" fmla="*/ 0 h 2490989"/>
              <a:gd name="connsiteX1" fmla="*/ 0 w 6580566"/>
              <a:gd name="connsiteY1" fmla="*/ 2099561 h 2490989"/>
              <a:gd name="connsiteX2" fmla="*/ 0 w 6580566"/>
              <a:gd name="connsiteY2" fmla="*/ 2490989 h 2490989"/>
              <a:gd name="connsiteX3" fmla="*/ 5268197 w 6580566"/>
              <a:gd name="connsiteY3" fmla="*/ 2490989 h 2490989"/>
              <a:gd name="connsiteX4" fmla="*/ 6580566 w 6580566"/>
              <a:gd name="connsiteY4" fmla="*/ 2476120 h 2490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566" h="2490989">
                <a:moveTo>
                  <a:pt x="3009863" y="0"/>
                </a:moveTo>
                <a:lnTo>
                  <a:pt x="0" y="2099561"/>
                </a:lnTo>
                <a:lnTo>
                  <a:pt x="0" y="2490989"/>
                </a:lnTo>
                <a:lnTo>
                  <a:pt x="5268197" y="2490989"/>
                </a:lnTo>
                <a:lnTo>
                  <a:pt x="6580566" y="2476120"/>
                </a:lnTo>
                <a:close/>
              </a:path>
            </a:pathLst>
          </a:custGeom>
          <a:gradFill>
            <a:gsLst>
              <a:gs pos="28000">
                <a:schemeClr val="accent1">
                  <a:alpha val="0"/>
                </a:schemeClr>
              </a:gs>
              <a:gs pos="92000">
                <a:schemeClr val="accent1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 21">
            <a:extLst>
              <a:ext uri="{FF2B5EF4-FFF2-40B4-BE49-F238E27FC236}">
                <a16:creationId xmlns:a16="http://schemas.microsoft.com/office/drawing/2014/main" id="{2168F68C-9AED-427E-85F9-E8C1393F181B}"/>
              </a:ext>
            </a:extLst>
          </p:cNvPr>
          <p:cNvSpPr/>
          <p:nvPr userDrawn="1"/>
        </p:nvSpPr>
        <p:spPr>
          <a:xfrm flipH="1">
            <a:off x="5606920" y="4371977"/>
            <a:ext cx="6580566" cy="2490989"/>
          </a:xfrm>
          <a:custGeom>
            <a:avLst/>
            <a:gdLst>
              <a:gd name="connsiteX0" fmla="*/ 3009863 w 6580566"/>
              <a:gd name="connsiteY0" fmla="*/ 0 h 2490989"/>
              <a:gd name="connsiteX1" fmla="*/ 0 w 6580566"/>
              <a:gd name="connsiteY1" fmla="*/ 2099561 h 2490989"/>
              <a:gd name="connsiteX2" fmla="*/ 0 w 6580566"/>
              <a:gd name="connsiteY2" fmla="*/ 2490989 h 2490989"/>
              <a:gd name="connsiteX3" fmla="*/ 5268197 w 6580566"/>
              <a:gd name="connsiteY3" fmla="*/ 2490989 h 2490989"/>
              <a:gd name="connsiteX4" fmla="*/ 6580566 w 6580566"/>
              <a:gd name="connsiteY4" fmla="*/ 2476120 h 2490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566" h="2490989">
                <a:moveTo>
                  <a:pt x="3009863" y="0"/>
                </a:moveTo>
                <a:lnTo>
                  <a:pt x="0" y="2099561"/>
                </a:lnTo>
                <a:lnTo>
                  <a:pt x="0" y="2490989"/>
                </a:lnTo>
                <a:lnTo>
                  <a:pt x="5268197" y="2490989"/>
                </a:lnTo>
                <a:lnTo>
                  <a:pt x="6580566" y="2476120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3" name="Freeform 16">
            <a:extLst>
              <a:ext uri="{FF2B5EF4-FFF2-40B4-BE49-F238E27FC236}">
                <a16:creationId xmlns:a16="http://schemas.microsoft.com/office/drawing/2014/main" id="{B65377BA-7EEE-4F72-8CAE-57BDF7345B46}"/>
              </a:ext>
            </a:extLst>
          </p:cNvPr>
          <p:cNvSpPr/>
          <p:nvPr userDrawn="1"/>
        </p:nvSpPr>
        <p:spPr>
          <a:xfrm flipH="1">
            <a:off x="4047304" y="5413691"/>
            <a:ext cx="4092877" cy="1449275"/>
          </a:xfrm>
          <a:custGeom>
            <a:avLst/>
            <a:gdLst>
              <a:gd name="connsiteX0" fmla="*/ 2044180 w 4092877"/>
              <a:gd name="connsiteY0" fmla="*/ 0 h 1449275"/>
              <a:gd name="connsiteX1" fmla="*/ 0 w 4092877"/>
              <a:gd name="connsiteY1" fmla="*/ 1449275 h 1449275"/>
              <a:gd name="connsiteX2" fmla="*/ 4092877 w 4092877"/>
              <a:gd name="connsiteY2" fmla="*/ 1449275 h 1449275"/>
              <a:gd name="connsiteX3" fmla="*/ 3674121 w 4092877"/>
              <a:gd name="connsiteY3" fmla="*/ 1155304 h 1449275"/>
              <a:gd name="connsiteX4" fmla="*/ 2044180 w 4092877"/>
              <a:gd name="connsiteY4" fmla="*/ 0 h 14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2877" h="1449275">
                <a:moveTo>
                  <a:pt x="2044180" y="0"/>
                </a:moveTo>
                <a:lnTo>
                  <a:pt x="0" y="1449275"/>
                </a:lnTo>
                <a:lnTo>
                  <a:pt x="4092877" y="1449275"/>
                </a:lnTo>
                <a:lnTo>
                  <a:pt x="3674121" y="1155304"/>
                </a:lnTo>
                <a:cubicBezTo>
                  <a:pt x="3130807" y="770202"/>
                  <a:pt x="2569124" y="363906"/>
                  <a:pt x="204418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35000"/>
                </a:schemeClr>
              </a:gs>
              <a:gs pos="50000">
                <a:schemeClr val="accent2"/>
              </a:gs>
              <a:gs pos="98000">
                <a:schemeClr val="accent2">
                  <a:alpha val="3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A764AC80-FAC7-4BD1-B73A-91406AC014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8134"/>
            <a:ext cx="935900" cy="2700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A45E612-A8E3-4C77-9438-EC1BFADA331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079725B-1CBE-4221-997B-07640A54E0D0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2"/>
                </a:solidFill>
              </a:rPr>
              <a:pPr lvl="0"/>
              <a:t>‹#›</a:t>
            </a:fld>
            <a:endParaRPr lang="en-US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7939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5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A6CD9C7-E2A9-434A-9A8E-298812C6A1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5" name="Freeform 24">
            <a:extLst>
              <a:ext uri="{FF2B5EF4-FFF2-40B4-BE49-F238E27FC236}">
                <a16:creationId xmlns:a16="http://schemas.microsoft.com/office/drawing/2014/main" id="{5B049D90-7C0C-2543-A4A6-22DE2C411CA6}"/>
              </a:ext>
            </a:extLst>
          </p:cNvPr>
          <p:cNvSpPr/>
          <p:nvPr/>
        </p:nvSpPr>
        <p:spPr>
          <a:xfrm>
            <a:off x="0" y="4900507"/>
            <a:ext cx="4262572" cy="1957493"/>
          </a:xfrm>
          <a:custGeom>
            <a:avLst/>
            <a:gdLst>
              <a:gd name="connsiteX0" fmla="*/ 1462275 w 4262572"/>
              <a:gd name="connsiteY0" fmla="*/ 0 h 1957493"/>
              <a:gd name="connsiteX1" fmla="*/ 4262572 w 4262572"/>
              <a:gd name="connsiteY1" fmla="*/ 1957493 h 1957493"/>
              <a:gd name="connsiteX2" fmla="*/ 0 w 4262572"/>
              <a:gd name="connsiteY2" fmla="*/ 1957493 h 1957493"/>
              <a:gd name="connsiteX3" fmla="*/ 0 w 4262572"/>
              <a:gd name="connsiteY3" fmla="*/ 1021999 h 1957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62572" h="1957493">
                <a:moveTo>
                  <a:pt x="1462275" y="0"/>
                </a:moveTo>
                <a:lnTo>
                  <a:pt x="4262572" y="1957493"/>
                </a:lnTo>
                <a:lnTo>
                  <a:pt x="0" y="1957493"/>
                </a:lnTo>
                <a:lnTo>
                  <a:pt x="0" y="1021999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31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929773AE-3026-4994-9E24-119377549C30}"/>
              </a:ext>
            </a:extLst>
          </p:cNvPr>
          <p:cNvSpPr/>
          <p:nvPr/>
        </p:nvSpPr>
        <p:spPr>
          <a:xfrm>
            <a:off x="1739901" y="5448182"/>
            <a:ext cx="4065894" cy="1412994"/>
          </a:xfrm>
          <a:custGeom>
            <a:avLst/>
            <a:gdLst>
              <a:gd name="connsiteX0" fmla="*/ 0 w 4467225"/>
              <a:gd name="connsiteY0" fmla="*/ 1533525 h 1562100"/>
              <a:gd name="connsiteX1" fmla="*/ 2228850 w 4467225"/>
              <a:gd name="connsiteY1" fmla="*/ 0 h 1562100"/>
              <a:gd name="connsiteX2" fmla="*/ 4467225 w 4467225"/>
              <a:gd name="connsiteY2" fmla="*/ 1562100 h 1562100"/>
              <a:gd name="connsiteX3" fmla="*/ 0 w 4467225"/>
              <a:gd name="connsiteY3" fmla="*/ 1533525 h 1562100"/>
              <a:gd name="connsiteX0" fmla="*/ 0 w 4505325"/>
              <a:gd name="connsiteY0" fmla="*/ 1552575 h 1562100"/>
              <a:gd name="connsiteX1" fmla="*/ 2266950 w 4505325"/>
              <a:gd name="connsiteY1" fmla="*/ 0 h 1562100"/>
              <a:gd name="connsiteX2" fmla="*/ 4505325 w 4505325"/>
              <a:gd name="connsiteY2" fmla="*/ 1562100 h 1562100"/>
              <a:gd name="connsiteX3" fmla="*/ 0 w 4505325"/>
              <a:gd name="connsiteY3" fmla="*/ 1552575 h 1562100"/>
              <a:gd name="connsiteX0" fmla="*/ 0 w 4514850"/>
              <a:gd name="connsiteY0" fmla="*/ 1562100 h 1562100"/>
              <a:gd name="connsiteX1" fmla="*/ 2276475 w 4514850"/>
              <a:gd name="connsiteY1" fmla="*/ 0 h 1562100"/>
              <a:gd name="connsiteX2" fmla="*/ 4514850 w 4514850"/>
              <a:gd name="connsiteY2" fmla="*/ 1562100 h 1562100"/>
              <a:gd name="connsiteX3" fmla="*/ 0 w 4514850"/>
              <a:gd name="connsiteY3" fmla="*/ 1562100 h 1562100"/>
              <a:gd name="connsiteX0" fmla="*/ 0 w 4514850"/>
              <a:gd name="connsiteY0" fmla="*/ 1410144 h 1410144"/>
              <a:gd name="connsiteX1" fmla="*/ 2265873 w 4514850"/>
              <a:gd name="connsiteY1" fmla="*/ 0 h 1410144"/>
              <a:gd name="connsiteX2" fmla="*/ 4514850 w 4514850"/>
              <a:gd name="connsiteY2" fmla="*/ 1410144 h 1410144"/>
              <a:gd name="connsiteX3" fmla="*/ 0 w 4514850"/>
              <a:gd name="connsiteY3" fmla="*/ 1410144 h 1410144"/>
              <a:gd name="connsiteX0" fmla="*/ 0 w 4514850"/>
              <a:gd name="connsiteY0" fmla="*/ 1569168 h 1569168"/>
              <a:gd name="connsiteX1" fmla="*/ 2265873 w 4514850"/>
              <a:gd name="connsiteY1" fmla="*/ 0 h 1569168"/>
              <a:gd name="connsiteX2" fmla="*/ 4514850 w 4514850"/>
              <a:gd name="connsiteY2" fmla="*/ 1569168 h 1569168"/>
              <a:gd name="connsiteX3" fmla="*/ 0 w 4514850"/>
              <a:gd name="connsiteY3" fmla="*/ 1569168 h 1569168"/>
              <a:gd name="connsiteX0" fmla="*/ 0 w 4525452"/>
              <a:gd name="connsiteY0" fmla="*/ 1569168 h 1572702"/>
              <a:gd name="connsiteX1" fmla="*/ 2265873 w 4525452"/>
              <a:gd name="connsiteY1" fmla="*/ 0 h 1572702"/>
              <a:gd name="connsiteX2" fmla="*/ 4525452 w 4525452"/>
              <a:gd name="connsiteY2" fmla="*/ 1572702 h 1572702"/>
              <a:gd name="connsiteX3" fmla="*/ 0 w 4525452"/>
              <a:gd name="connsiteY3" fmla="*/ 1569168 h 1572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25452" h="1572702">
                <a:moveTo>
                  <a:pt x="0" y="1569168"/>
                </a:moveTo>
                <a:lnTo>
                  <a:pt x="2265873" y="0"/>
                </a:lnTo>
                <a:lnTo>
                  <a:pt x="4525452" y="1572702"/>
                </a:lnTo>
                <a:lnTo>
                  <a:pt x="0" y="1569168"/>
                </a:lnTo>
                <a:close/>
              </a:path>
            </a:pathLst>
          </a:custGeom>
          <a:gradFill flip="none" rotWithShape="1">
            <a:gsLst>
              <a:gs pos="79000">
                <a:schemeClr val="accent1"/>
              </a:gs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21594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1998EB54-0F58-441A-8144-1161535363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4257" y="3702319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BE0095B5-53D4-9C4C-8876-BE836797DEE0}"/>
              </a:ext>
            </a:extLst>
          </p:cNvPr>
          <p:cNvSpPr/>
          <p:nvPr/>
        </p:nvSpPr>
        <p:spPr>
          <a:xfrm rot="10800000">
            <a:off x="9083364" y="0"/>
            <a:ext cx="3108635" cy="1425182"/>
          </a:xfrm>
          <a:custGeom>
            <a:avLst/>
            <a:gdLst>
              <a:gd name="connsiteX0" fmla="*/ 3108635 w 3108635"/>
              <a:gd name="connsiteY0" fmla="*/ 1425182 h 1425182"/>
              <a:gd name="connsiteX1" fmla="*/ 0 w 3108635"/>
              <a:gd name="connsiteY1" fmla="*/ 1425182 h 1425182"/>
              <a:gd name="connsiteX2" fmla="*/ 0 w 3108635"/>
              <a:gd name="connsiteY2" fmla="*/ 730957 h 1425182"/>
              <a:gd name="connsiteX3" fmla="*/ 1084862 w 3108635"/>
              <a:gd name="connsiteY3" fmla="*/ 0 h 142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08635" h="1425182">
                <a:moveTo>
                  <a:pt x="3108635" y="1425182"/>
                </a:moveTo>
                <a:lnTo>
                  <a:pt x="0" y="1425182"/>
                </a:lnTo>
                <a:lnTo>
                  <a:pt x="0" y="730957"/>
                </a:lnTo>
                <a:lnTo>
                  <a:pt x="1084862" y="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31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B5DEA3EB-7023-3642-83F2-FD716952AC57}"/>
              </a:ext>
            </a:extLst>
          </p:cNvPr>
          <p:cNvSpPr/>
          <p:nvPr/>
        </p:nvSpPr>
        <p:spPr>
          <a:xfrm rot="10800000">
            <a:off x="7899082" y="-1"/>
            <a:ext cx="2943008" cy="1021432"/>
          </a:xfrm>
          <a:custGeom>
            <a:avLst/>
            <a:gdLst>
              <a:gd name="connsiteX0" fmla="*/ 2943008 w 2943008"/>
              <a:gd name="connsiteY0" fmla="*/ 1021432 h 1021432"/>
              <a:gd name="connsiteX1" fmla="*/ 0 w 2943008"/>
              <a:gd name="connsiteY1" fmla="*/ 1021432 h 1021432"/>
              <a:gd name="connsiteX2" fmla="*/ 1473230 w 2943008"/>
              <a:gd name="connsiteY2" fmla="*/ 0 h 102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43008" h="1021432">
                <a:moveTo>
                  <a:pt x="2943008" y="1021432"/>
                </a:moveTo>
                <a:lnTo>
                  <a:pt x="0" y="1021432"/>
                </a:lnTo>
                <a:lnTo>
                  <a:pt x="1473230" y="0"/>
                </a:lnTo>
                <a:close/>
              </a:path>
            </a:pathLst>
          </a:custGeom>
          <a:gradFill flip="none" rotWithShape="1">
            <a:gsLst>
              <a:gs pos="79000">
                <a:schemeClr val="accent1"/>
              </a:gs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21594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>
              <a:solidFill>
                <a:schemeClr val="tx2"/>
              </a:solidFill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26A78AB9-EAF7-7746-895A-843233C622E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612FCD5A-D75B-4B19-A0CD-3722DB639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401252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5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58EE7C1-72A7-49D2-9408-6D8A3E8979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E8E6F93-A670-4F14-B015-78190A57D001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2"/>
                </a:solidFill>
              </a:rPr>
              <a:pPr lvl="0"/>
              <a:t>‹#›</a:t>
            </a:fld>
            <a:endParaRPr lang="en-US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39639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 20">
            <a:extLst>
              <a:ext uri="{FF2B5EF4-FFF2-40B4-BE49-F238E27FC236}">
                <a16:creationId xmlns:a16="http://schemas.microsoft.com/office/drawing/2014/main" id="{AD3AE23F-988B-564F-876F-C0158BED6563}"/>
              </a:ext>
            </a:extLst>
          </p:cNvPr>
          <p:cNvSpPr/>
          <p:nvPr/>
        </p:nvSpPr>
        <p:spPr>
          <a:xfrm>
            <a:off x="0" y="-3821"/>
            <a:ext cx="3119527" cy="2170074"/>
          </a:xfrm>
          <a:custGeom>
            <a:avLst/>
            <a:gdLst>
              <a:gd name="connsiteX0" fmla="*/ 0 w 3119527"/>
              <a:gd name="connsiteY0" fmla="*/ 0 h 2170074"/>
              <a:gd name="connsiteX1" fmla="*/ 3119527 w 3119527"/>
              <a:gd name="connsiteY1" fmla="*/ 1224 h 2170074"/>
              <a:gd name="connsiteX2" fmla="*/ 0 w 3119527"/>
              <a:gd name="connsiteY2" fmla="*/ 2170074 h 2170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19527" h="2170074">
                <a:moveTo>
                  <a:pt x="0" y="0"/>
                </a:moveTo>
                <a:lnTo>
                  <a:pt x="3119527" y="1224"/>
                </a:lnTo>
                <a:lnTo>
                  <a:pt x="0" y="2170074"/>
                </a:lnTo>
                <a:close/>
              </a:path>
            </a:pathLst>
          </a:custGeom>
          <a:gradFill>
            <a:gsLst>
              <a:gs pos="0">
                <a:srgbClr val="007199"/>
              </a:gs>
              <a:gs pos="100000">
                <a:srgbClr val="00AECF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3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64203167-F8D4-5045-BC57-8D5D46A2DF5D}"/>
              </a:ext>
            </a:extLst>
          </p:cNvPr>
          <p:cNvSpPr/>
          <p:nvPr/>
        </p:nvSpPr>
        <p:spPr>
          <a:xfrm>
            <a:off x="0" y="-9519"/>
            <a:ext cx="2249484" cy="1571852"/>
          </a:xfrm>
          <a:custGeom>
            <a:avLst/>
            <a:gdLst>
              <a:gd name="connsiteX0" fmla="*/ 2249484 w 2249484"/>
              <a:gd name="connsiteY0" fmla="*/ 0 h 1571852"/>
              <a:gd name="connsiteX1" fmla="*/ 0 w 2249484"/>
              <a:gd name="connsiteY1" fmla="*/ 1571852 h 1571852"/>
              <a:gd name="connsiteX2" fmla="*/ 0 w 2249484"/>
              <a:gd name="connsiteY2" fmla="*/ 5454 h 157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9484" h="1571852">
                <a:moveTo>
                  <a:pt x="2249484" y="0"/>
                </a:moveTo>
                <a:lnTo>
                  <a:pt x="0" y="1571852"/>
                </a:lnTo>
                <a:lnTo>
                  <a:pt x="0" y="5454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62000">
                <a:srgbClr val="073262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BD1E0693-F664-448A-9D7A-93A03D6B7E90}"/>
              </a:ext>
            </a:extLst>
          </p:cNvPr>
          <p:cNvSpPr/>
          <p:nvPr/>
        </p:nvSpPr>
        <p:spPr>
          <a:xfrm>
            <a:off x="-11983" y="1997929"/>
            <a:ext cx="887194" cy="1242604"/>
          </a:xfrm>
          <a:custGeom>
            <a:avLst/>
            <a:gdLst>
              <a:gd name="connsiteX0" fmla="*/ 19050 w 1838325"/>
              <a:gd name="connsiteY0" fmla="*/ 0 h 1276350"/>
              <a:gd name="connsiteX1" fmla="*/ 1838325 w 1838325"/>
              <a:gd name="connsiteY1" fmla="*/ 1276350 h 1276350"/>
              <a:gd name="connsiteX2" fmla="*/ 0 w 1838325"/>
              <a:gd name="connsiteY2" fmla="*/ 1276350 h 1276350"/>
              <a:gd name="connsiteX3" fmla="*/ 19050 w 1838325"/>
              <a:gd name="connsiteY3" fmla="*/ 0 h 1276350"/>
              <a:gd name="connsiteX0" fmla="*/ 0 w 1819275"/>
              <a:gd name="connsiteY0" fmla="*/ 0 h 1276350"/>
              <a:gd name="connsiteX1" fmla="*/ 1819275 w 1819275"/>
              <a:gd name="connsiteY1" fmla="*/ 1276350 h 1276350"/>
              <a:gd name="connsiteX2" fmla="*/ 20790 w 1819275"/>
              <a:gd name="connsiteY2" fmla="*/ 1276350 h 1276350"/>
              <a:gd name="connsiteX3" fmla="*/ 0 w 1819275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9407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2046931"/>
              <a:gd name="connsiteY0" fmla="*/ 0 h 1274281"/>
              <a:gd name="connsiteX1" fmla="*/ 2046931 w 2046931"/>
              <a:gd name="connsiteY1" fmla="*/ 1268074 h 1274281"/>
              <a:gd name="connsiteX2" fmla="*/ 3717 w 2046931"/>
              <a:gd name="connsiteY2" fmla="*/ 1274281 h 1274281"/>
              <a:gd name="connsiteX3" fmla="*/ 0 w 2046931"/>
              <a:gd name="connsiteY3" fmla="*/ 0 h 1274281"/>
              <a:gd name="connsiteX0" fmla="*/ 0 w 2046931"/>
              <a:gd name="connsiteY0" fmla="*/ 0 h 1141859"/>
              <a:gd name="connsiteX1" fmla="*/ 2046931 w 2046931"/>
              <a:gd name="connsiteY1" fmla="*/ 1135652 h 1141859"/>
              <a:gd name="connsiteX2" fmla="*/ 3717 w 2046931"/>
              <a:gd name="connsiteY2" fmla="*/ 1141859 h 1141859"/>
              <a:gd name="connsiteX3" fmla="*/ 0 w 2046931"/>
              <a:gd name="connsiteY3" fmla="*/ 0 h 1141859"/>
              <a:gd name="connsiteX0" fmla="*/ 19318 w 2066249"/>
              <a:gd name="connsiteY0" fmla="*/ 0 h 1994325"/>
              <a:gd name="connsiteX1" fmla="*/ 2066249 w 2066249"/>
              <a:gd name="connsiteY1" fmla="*/ 1135652 h 1994325"/>
              <a:gd name="connsiteX2" fmla="*/ 269 w 2066249"/>
              <a:gd name="connsiteY2" fmla="*/ 1994325 h 1994325"/>
              <a:gd name="connsiteX3" fmla="*/ 19318 w 2066249"/>
              <a:gd name="connsiteY3" fmla="*/ 0 h 1994325"/>
              <a:gd name="connsiteX0" fmla="*/ 19318 w 2043483"/>
              <a:gd name="connsiteY0" fmla="*/ 0 h 1994325"/>
              <a:gd name="connsiteX1" fmla="*/ 2043483 w 2043483"/>
              <a:gd name="connsiteY1" fmla="*/ 1110823 h 1994325"/>
              <a:gd name="connsiteX2" fmla="*/ 269 w 2043483"/>
              <a:gd name="connsiteY2" fmla="*/ 1994325 h 1994325"/>
              <a:gd name="connsiteX3" fmla="*/ 19318 w 2043483"/>
              <a:gd name="connsiteY3" fmla="*/ 0 h 1994325"/>
              <a:gd name="connsiteX0" fmla="*/ 8129 w 2032294"/>
              <a:gd name="connsiteY0" fmla="*/ 0 h 2159852"/>
              <a:gd name="connsiteX1" fmla="*/ 2032294 w 2032294"/>
              <a:gd name="connsiteY1" fmla="*/ 1110823 h 2159852"/>
              <a:gd name="connsiteX2" fmla="*/ 463 w 2032294"/>
              <a:gd name="connsiteY2" fmla="*/ 2159852 h 2159852"/>
              <a:gd name="connsiteX3" fmla="*/ 8129 w 2032294"/>
              <a:gd name="connsiteY3" fmla="*/ 0 h 2159852"/>
              <a:gd name="connsiteX0" fmla="*/ 0 w 2104430"/>
              <a:gd name="connsiteY0" fmla="*/ 0 h 1843086"/>
              <a:gd name="connsiteX1" fmla="*/ 2104430 w 2104430"/>
              <a:gd name="connsiteY1" fmla="*/ 794057 h 1843086"/>
              <a:gd name="connsiteX2" fmla="*/ 72599 w 2104430"/>
              <a:gd name="connsiteY2" fmla="*/ 1843086 h 1843086"/>
              <a:gd name="connsiteX3" fmla="*/ 0 w 2104430"/>
              <a:gd name="connsiteY3" fmla="*/ 0 h 1843086"/>
              <a:gd name="connsiteX0" fmla="*/ 0 w 2044232"/>
              <a:gd name="connsiteY0" fmla="*/ 0 h 2152308"/>
              <a:gd name="connsiteX1" fmla="*/ 2044232 w 2044232"/>
              <a:gd name="connsiteY1" fmla="*/ 1103279 h 2152308"/>
              <a:gd name="connsiteX2" fmla="*/ 12401 w 2044232"/>
              <a:gd name="connsiteY2" fmla="*/ 2152308 h 2152308"/>
              <a:gd name="connsiteX3" fmla="*/ 0 w 2044232"/>
              <a:gd name="connsiteY3" fmla="*/ 0 h 2152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4232" h="2152308">
                <a:moveTo>
                  <a:pt x="0" y="0"/>
                </a:moveTo>
                <a:lnTo>
                  <a:pt x="2044232" y="1103279"/>
                </a:lnTo>
                <a:lnTo>
                  <a:pt x="12401" y="2152308"/>
                </a:lnTo>
                <a:cubicBezTo>
                  <a:pt x="9265" y="1726858"/>
                  <a:pt x="3136" y="425450"/>
                  <a:pt x="0" y="0"/>
                </a:cubicBezTo>
                <a:close/>
              </a:path>
            </a:pathLst>
          </a:custGeom>
          <a:gradFill>
            <a:gsLst>
              <a:gs pos="9000">
                <a:srgbClr val="FF555F">
                  <a:alpha val="0"/>
                </a:srgbClr>
              </a:gs>
              <a:gs pos="100000">
                <a:srgbClr val="FF555F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5BDCB9F-EF00-4740-A039-6C5374289B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48114" y="0"/>
            <a:ext cx="8543886" cy="5941720"/>
          </a:xfrm>
          <a:custGeom>
            <a:avLst/>
            <a:gdLst>
              <a:gd name="connsiteX0" fmla="*/ 0 w 8543886"/>
              <a:gd name="connsiteY0" fmla="*/ 0 h 5941720"/>
              <a:gd name="connsiteX1" fmla="*/ 8543886 w 8543886"/>
              <a:gd name="connsiteY1" fmla="*/ 0 h 5941720"/>
              <a:gd name="connsiteX2" fmla="*/ 8543886 w 8543886"/>
              <a:gd name="connsiteY2" fmla="*/ 5941720 h 594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886" h="5941720">
                <a:moveTo>
                  <a:pt x="0" y="0"/>
                </a:moveTo>
                <a:lnTo>
                  <a:pt x="8543886" y="0"/>
                </a:lnTo>
                <a:lnTo>
                  <a:pt x="8543886" y="594172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4972997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B87D776C-79F6-D44E-9FFA-CA482D54AFB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ACEF1787-A2E1-458A-BF2D-A3E6A5C67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560262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dirty="0"/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1</a:t>
            </a:r>
            <a:endParaRPr lang="en-GB"/>
          </a:p>
        </p:txBody>
      </p:sp>
      <p:sp>
        <p:nvSpPr>
          <p:cNvPr id="20" name="Freeform 17">
            <a:extLst>
              <a:ext uri="{FF2B5EF4-FFF2-40B4-BE49-F238E27FC236}">
                <a16:creationId xmlns:a16="http://schemas.microsoft.com/office/drawing/2014/main" id="{667D5848-2C00-434A-95F4-0BB2E59ACF12}"/>
              </a:ext>
            </a:extLst>
          </p:cNvPr>
          <p:cNvSpPr/>
          <p:nvPr userDrawn="1"/>
        </p:nvSpPr>
        <p:spPr>
          <a:xfrm>
            <a:off x="0" y="-9519"/>
            <a:ext cx="2249484" cy="1571852"/>
          </a:xfrm>
          <a:custGeom>
            <a:avLst/>
            <a:gdLst>
              <a:gd name="connsiteX0" fmla="*/ 2249484 w 2249484"/>
              <a:gd name="connsiteY0" fmla="*/ 0 h 1571852"/>
              <a:gd name="connsiteX1" fmla="*/ 0 w 2249484"/>
              <a:gd name="connsiteY1" fmla="*/ 1571852 h 1571852"/>
              <a:gd name="connsiteX2" fmla="*/ 0 w 2249484"/>
              <a:gd name="connsiteY2" fmla="*/ 5454 h 157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9484" h="1571852">
                <a:moveTo>
                  <a:pt x="2249484" y="0"/>
                </a:moveTo>
                <a:lnTo>
                  <a:pt x="0" y="1571852"/>
                </a:lnTo>
                <a:lnTo>
                  <a:pt x="0" y="5454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62000">
                <a:srgbClr val="073262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B97E7568-823C-4CBD-8378-DB4576EA10FD}"/>
              </a:ext>
            </a:extLst>
          </p:cNvPr>
          <p:cNvSpPr/>
          <p:nvPr userDrawn="1"/>
        </p:nvSpPr>
        <p:spPr>
          <a:xfrm>
            <a:off x="-11983" y="1997929"/>
            <a:ext cx="887194" cy="1242604"/>
          </a:xfrm>
          <a:custGeom>
            <a:avLst/>
            <a:gdLst>
              <a:gd name="connsiteX0" fmla="*/ 19050 w 1838325"/>
              <a:gd name="connsiteY0" fmla="*/ 0 h 1276350"/>
              <a:gd name="connsiteX1" fmla="*/ 1838325 w 1838325"/>
              <a:gd name="connsiteY1" fmla="*/ 1276350 h 1276350"/>
              <a:gd name="connsiteX2" fmla="*/ 0 w 1838325"/>
              <a:gd name="connsiteY2" fmla="*/ 1276350 h 1276350"/>
              <a:gd name="connsiteX3" fmla="*/ 19050 w 1838325"/>
              <a:gd name="connsiteY3" fmla="*/ 0 h 1276350"/>
              <a:gd name="connsiteX0" fmla="*/ 0 w 1819275"/>
              <a:gd name="connsiteY0" fmla="*/ 0 h 1276350"/>
              <a:gd name="connsiteX1" fmla="*/ 1819275 w 1819275"/>
              <a:gd name="connsiteY1" fmla="*/ 1276350 h 1276350"/>
              <a:gd name="connsiteX2" fmla="*/ 20790 w 1819275"/>
              <a:gd name="connsiteY2" fmla="*/ 1276350 h 1276350"/>
              <a:gd name="connsiteX3" fmla="*/ 0 w 1819275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9407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2046931"/>
              <a:gd name="connsiteY0" fmla="*/ 0 h 1274281"/>
              <a:gd name="connsiteX1" fmla="*/ 2046931 w 2046931"/>
              <a:gd name="connsiteY1" fmla="*/ 1268074 h 1274281"/>
              <a:gd name="connsiteX2" fmla="*/ 3717 w 2046931"/>
              <a:gd name="connsiteY2" fmla="*/ 1274281 h 1274281"/>
              <a:gd name="connsiteX3" fmla="*/ 0 w 2046931"/>
              <a:gd name="connsiteY3" fmla="*/ 0 h 1274281"/>
              <a:gd name="connsiteX0" fmla="*/ 0 w 2046931"/>
              <a:gd name="connsiteY0" fmla="*/ 0 h 1141859"/>
              <a:gd name="connsiteX1" fmla="*/ 2046931 w 2046931"/>
              <a:gd name="connsiteY1" fmla="*/ 1135652 h 1141859"/>
              <a:gd name="connsiteX2" fmla="*/ 3717 w 2046931"/>
              <a:gd name="connsiteY2" fmla="*/ 1141859 h 1141859"/>
              <a:gd name="connsiteX3" fmla="*/ 0 w 2046931"/>
              <a:gd name="connsiteY3" fmla="*/ 0 h 1141859"/>
              <a:gd name="connsiteX0" fmla="*/ 19318 w 2066249"/>
              <a:gd name="connsiteY0" fmla="*/ 0 h 1994325"/>
              <a:gd name="connsiteX1" fmla="*/ 2066249 w 2066249"/>
              <a:gd name="connsiteY1" fmla="*/ 1135652 h 1994325"/>
              <a:gd name="connsiteX2" fmla="*/ 269 w 2066249"/>
              <a:gd name="connsiteY2" fmla="*/ 1994325 h 1994325"/>
              <a:gd name="connsiteX3" fmla="*/ 19318 w 2066249"/>
              <a:gd name="connsiteY3" fmla="*/ 0 h 1994325"/>
              <a:gd name="connsiteX0" fmla="*/ 19318 w 2043483"/>
              <a:gd name="connsiteY0" fmla="*/ 0 h 1994325"/>
              <a:gd name="connsiteX1" fmla="*/ 2043483 w 2043483"/>
              <a:gd name="connsiteY1" fmla="*/ 1110823 h 1994325"/>
              <a:gd name="connsiteX2" fmla="*/ 269 w 2043483"/>
              <a:gd name="connsiteY2" fmla="*/ 1994325 h 1994325"/>
              <a:gd name="connsiteX3" fmla="*/ 19318 w 2043483"/>
              <a:gd name="connsiteY3" fmla="*/ 0 h 1994325"/>
              <a:gd name="connsiteX0" fmla="*/ 8129 w 2032294"/>
              <a:gd name="connsiteY0" fmla="*/ 0 h 2159852"/>
              <a:gd name="connsiteX1" fmla="*/ 2032294 w 2032294"/>
              <a:gd name="connsiteY1" fmla="*/ 1110823 h 2159852"/>
              <a:gd name="connsiteX2" fmla="*/ 463 w 2032294"/>
              <a:gd name="connsiteY2" fmla="*/ 2159852 h 2159852"/>
              <a:gd name="connsiteX3" fmla="*/ 8129 w 2032294"/>
              <a:gd name="connsiteY3" fmla="*/ 0 h 2159852"/>
              <a:gd name="connsiteX0" fmla="*/ 0 w 2104430"/>
              <a:gd name="connsiteY0" fmla="*/ 0 h 1843086"/>
              <a:gd name="connsiteX1" fmla="*/ 2104430 w 2104430"/>
              <a:gd name="connsiteY1" fmla="*/ 794057 h 1843086"/>
              <a:gd name="connsiteX2" fmla="*/ 72599 w 2104430"/>
              <a:gd name="connsiteY2" fmla="*/ 1843086 h 1843086"/>
              <a:gd name="connsiteX3" fmla="*/ 0 w 2104430"/>
              <a:gd name="connsiteY3" fmla="*/ 0 h 1843086"/>
              <a:gd name="connsiteX0" fmla="*/ 0 w 2044232"/>
              <a:gd name="connsiteY0" fmla="*/ 0 h 2152308"/>
              <a:gd name="connsiteX1" fmla="*/ 2044232 w 2044232"/>
              <a:gd name="connsiteY1" fmla="*/ 1103279 h 2152308"/>
              <a:gd name="connsiteX2" fmla="*/ 12401 w 2044232"/>
              <a:gd name="connsiteY2" fmla="*/ 2152308 h 2152308"/>
              <a:gd name="connsiteX3" fmla="*/ 0 w 2044232"/>
              <a:gd name="connsiteY3" fmla="*/ 0 h 2152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4232" h="2152308">
                <a:moveTo>
                  <a:pt x="0" y="0"/>
                </a:moveTo>
                <a:lnTo>
                  <a:pt x="2044232" y="1103279"/>
                </a:lnTo>
                <a:lnTo>
                  <a:pt x="12401" y="2152308"/>
                </a:lnTo>
                <a:cubicBezTo>
                  <a:pt x="9265" y="1726858"/>
                  <a:pt x="3136" y="425450"/>
                  <a:pt x="0" y="0"/>
                </a:cubicBezTo>
                <a:close/>
              </a:path>
            </a:pathLst>
          </a:custGeom>
          <a:gradFill>
            <a:gsLst>
              <a:gs pos="9000">
                <a:srgbClr val="FF555F">
                  <a:alpha val="0"/>
                </a:srgbClr>
              </a:gs>
              <a:gs pos="100000">
                <a:srgbClr val="FF555F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2F7F916-A56A-41E0-AB16-47964E93C7B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77A96C76-0097-4274-9DA2-D1F8E7937F33}"/>
              </a:ext>
            </a:extLst>
          </p:cNvPr>
          <p:cNvSpPr/>
          <p:nvPr userDrawn="1"/>
        </p:nvSpPr>
        <p:spPr>
          <a:xfrm rot="4191016">
            <a:off x="3401016" y="-500975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D4A7702-172F-4F6B-8FA4-0097A75DF785}"/>
              </a:ext>
            </a:extLst>
          </p:cNvPr>
          <p:cNvSpPr/>
          <p:nvPr userDrawn="1"/>
        </p:nvSpPr>
        <p:spPr>
          <a:xfrm flipH="1">
            <a:off x="9184940" y="3705794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34389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6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90A8770-33B0-4F90-A388-5B3728ACB9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0CC2C6EF-776C-43CF-B77C-3AD42BC255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4143" y="3702319"/>
            <a:ext cx="6843600" cy="381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Description goes her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noProof="0"/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507FF555-C362-BC4D-A8EA-21A034747FD9}"/>
              </a:ext>
            </a:extLst>
          </p:cNvPr>
          <p:cNvSpPr/>
          <p:nvPr/>
        </p:nvSpPr>
        <p:spPr>
          <a:xfrm rot="18300963" flipH="1">
            <a:off x="8503132" y="-1165064"/>
            <a:ext cx="495116" cy="4554815"/>
          </a:xfrm>
          <a:custGeom>
            <a:avLst/>
            <a:gdLst>
              <a:gd name="connsiteX0" fmla="*/ 484981 w 495116"/>
              <a:gd name="connsiteY0" fmla="*/ 0 h 4554815"/>
              <a:gd name="connsiteX1" fmla="*/ 43362 w 495116"/>
              <a:gd name="connsiteY1" fmla="*/ 630320 h 4554815"/>
              <a:gd name="connsiteX2" fmla="*/ 0 w 495116"/>
              <a:gd name="connsiteY2" fmla="*/ 4554815 h 4554815"/>
              <a:gd name="connsiteX3" fmla="*/ 484123 w 495116"/>
              <a:gd name="connsiteY3" fmla="*/ 4385194 h 4554815"/>
              <a:gd name="connsiteX4" fmla="*/ 495116 w 495116"/>
              <a:gd name="connsiteY4" fmla="*/ 3771414 h 4554815"/>
              <a:gd name="connsiteX5" fmla="*/ 466021 w 495116"/>
              <a:gd name="connsiteY5" fmla="*/ 3782827 h 4554815"/>
              <a:gd name="connsiteX6" fmla="*/ 482994 w 495116"/>
              <a:gd name="connsiteY6" fmla="*/ 370448 h 4554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5116" h="4554815">
                <a:moveTo>
                  <a:pt x="484981" y="0"/>
                </a:moveTo>
                <a:lnTo>
                  <a:pt x="43362" y="630320"/>
                </a:lnTo>
                <a:lnTo>
                  <a:pt x="0" y="4554815"/>
                </a:lnTo>
                <a:lnTo>
                  <a:pt x="484123" y="4385194"/>
                </a:lnTo>
                <a:lnTo>
                  <a:pt x="495116" y="3771414"/>
                </a:lnTo>
                <a:lnTo>
                  <a:pt x="466021" y="3782827"/>
                </a:lnTo>
                <a:cubicBezTo>
                  <a:pt x="466280" y="2865719"/>
                  <a:pt x="476637" y="1476643"/>
                  <a:pt x="482994" y="370448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BA5EF075-83E7-774F-B885-37C07770ABA8}"/>
              </a:ext>
            </a:extLst>
          </p:cNvPr>
          <p:cNvSpPr/>
          <p:nvPr/>
        </p:nvSpPr>
        <p:spPr>
          <a:xfrm rot="18300963" flipH="1">
            <a:off x="4607641" y="3724836"/>
            <a:ext cx="1098431" cy="4553250"/>
          </a:xfrm>
          <a:custGeom>
            <a:avLst/>
            <a:gdLst>
              <a:gd name="connsiteX0" fmla="*/ 7678 w 1098431"/>
              <a:gd name="connsiteY0" fmla="*/ 354047 h 4553250"/>
              <a:gd name="connsiteX1" fmla="*/ 0 w 1098431"/>
              <a:gd name="connsiteY1" fmla="*/ 4553250 h 4553250"/>
              <a:gd name="connsiteX2" fmla="*/ 1098431 w 1098431"/>
              <a:gd name="connsiteY2" fmla="*/ 2985463 h 4553250"/>
              <a:gd name="connsiteX3" fmla="*/ 1098431 w 1098431"/>
              <a:gd name="connsiteY3" fmla="*/ 0 h 4553250"/>
              <a:gd name="connsiteX4" fmla="*/ 7678 w 1098431"/>
              <a:gd name="connsiteY4" fmla="*/ 354047 h 455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8431" h="4553250">
                <a:moveTo>
                  <a:pt x="7678" y="354047"/>
                </a:moveTo>
                <a:lnTo>
                  <a:pt x="0" y="4553250"/>
                </a:lnTo>
                <a:lnTo>
                  <a:pt x="1098431" y="2985463"/>
                </a:lnTo>
                <a:lnTo>
                  <a:pt x="1098431" y="0"/>
                </a:lnTo>
                <a:cubicBezTo>
                  <a:pt x="734631" y="127326"/>
                  <a:pt x="371478" y="226721"/>
                  <a:pt x="7678" y="35404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0FDB5CF5-44C1-1D4A-A2B9-37C0F30F6278}"/>
              </a:ext>
            </a:extLst>
          </p:cNvPr>
          <p:cNvSpPr/>
          <p:nvPr/>
        </p:nvSpPr>
        <p:spPr>
          <a:xfrm rot="18300963" flipH="1">
            <a:off x="4473394" y="5471677"/>
            <a:ext cx="227425" cy="1880095"/>
          </a:xfrm>
          <a:custGeom>
            <a:avLst/>
            <a:gdLst>
              <a:gd name="connsiteX0" fmla="*/ 0 w 227425"/>
              <a:gd name="connsiteY0" fmla="*/ 96845 h 1880095"/>
              <a:gd name="connsiteX1" fmla="*/ 0 w 227425"/>
              <a:gd name="connsiteY1" fmla="*/ 1880095 h 1880095"/>
              <a:gd name="connsiteX2" fmla="*/ 224453 w 227425"/>
              <a:gd name="connsiteY2" fmla="*/ 1559734 h 1880095"/>
              <a:gd name="connsiteX3" fmla="*/ 225257 w 227425"/>
              <a:gd name="connsiteY3" fmla="*/ 1214869 h 1880095"/>
              <a:gd name="connsiteX4" fmla="*/ 227425 w 227425"/>
              <a:gd name="connsiteY4" fmla="*/ 0 h 1880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425" h="1880095">
                <a:moveTo>
                  <a:pt x="0" y="96845"/>
                </a:moveTo>
                <a:lnTo>
                  <a:pt x="0" y="1880095"/>
                </a:lnTo>
                <a:lnTo>
                  <a:pt x="224453" y="1559734"/>
                </a:lnTo>
                <a:lnTo>
                  <a:pt x="225257" y="1214869"/>
                </a:lnTo>
                <a:cubicBezTo>
                  <a:pt x="225980" y="809913"/>
                  <a:pt x="226237" y="390570"/>
                  <a:pt x="227425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7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35" name="Freeform 34">
            <a:extLst>
              <a:ext uri="{FF2B5EF4-FFF2-40B4-BE49-F238E27FC236}">
                <a16:creationId xmlns:a16="http://schemas.microsoft.com/office/drawing/2014/main" id="{4D8B62A9-4796-7441-BB51-FE9050BD3210}"/>
              </a:ext>
            </a:extLst>
          </p:cNvPr>
          <p:cNvSpPr/>
          <p:nvPr/>
        </p:nvSpPr>
        <p:spPr>
          <a:xfrm rot="18300963" flipH="1">
            <a:off x="6797834" y="-1592612"/>
            <a:ext cx="1110167" cy="5340305"/>
          </a:xfrm>
          <a:custGeom>
            <a:avLst/>
            <a:gdLst>
              <a:gd name="connsiteX0" fmla="*/ 1110167 w 1110167"/>
              <a:gd name="connsiteY0" fmla="*/ 0 h 5340305"/>
              <a:gd name="connsiteX1" fmla="*/ 18977 w 1110167"/>
              <a:gd name="connsiteY1" fmla="*/ 1557452 h 5340305"/>
              <a:gd name="connsiteX2" fmla="*/ 18186 w 1110167"/>
              <a:gd name="connsiteY2" fmla="*/ 1710683 h 5340305"/>
              <a:gd name="connsiteX3" fmla="*/ 0 w 1110167"/>
              <a:gd name="connsiteY3" fmla="*/ 5340305 h 5340305"/>
              <a:gd name="connsiteX4" fmla="*/ 1096070 w 1110167"/>
              <a:gd name="connsiteY4" fmla="*/ 4910334 h 5340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0167" h="5340305">
                <a:moveTo>
                  <a:pt x="1110167" y="0"/>
                </a:moveTo>
                <a:lnTo>
                  <a:pt x="18977" y="1557452"/>
                </a:lnTo>
                <a:lnTo>
                  <a:pt x="18186" y="1710683"/>
                </a:lnTo>
                <a:cubicBezTo>
                  <a:pt x="12041" y="2846813"/>
                  <a:pt x="276" y="4362057"/>
                  <a:pt x="0" y="5340305"/>
                </a:cubicBezTo>
                <a:lnTo>
                  <a:pt x="1096070" y="4910334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E2CC5BE5-129B-7847-BDB4-75DA3D4EA79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970D0B5-60C7-43B7-9391-F41A7E9C2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401252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>
              <a:defRPr lang="en-GB" sz="4000" dirty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 noProof="0"/>
              <a:t>Slide divider option-6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6AB6562-E57C-4D04-BCF6-D759D38486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38652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Slid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1435E1C6-30B7-4241-944C-C81382685F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B91F8A20-C584-48B2-B8D0-5A7792E52E41}"/>
              </a:ext>
            </a:extLst>
          </p:cNvPr>
          <p:cNvSpPr/>
          <p:nvPr userDrawn="1"/>
        </p:nvSpPr>
        <p:spPr>
          <a:xfrm flipV="1">
            <a:off x="6766830" y="1"/>
            <a:ext cx="5425171" cy="3771437"/>
          </a:xfrm>
          <a:custGeom>
            <a:avLst/>
            <a:gdLst>
              <a:gd name="connsiteX0" fmla="*/ 0 w 5425171"/>
              <a:gd name="connsiteY0" fmla="*/ 3771437 h 3771437"/>
              <a:gd name="connsiteX1" fmla="*/ 5425171 w 5425171"/>
              <a:gd name="connsiteY1" fmla="*/ 3771437 h 3771437"/>
              <a:gd name="connsiteX2" fmla="*/ 5425171 w 5425171"/>
              <a:gd name="connsiteY2" fmla="*/ 0 h 3771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25171" h="3771437">
                <a:moveTo>
                  <a:pt x="0" y="3771437"/>
                </a:moveTo>
                <a:lnTo>
                  <a:pt x="5425171" y="3771437"/>
                </a:lnTo>
                <a:lnTo>
                  <a:pt x="5425171" y="0"/>
                </a:lnTo>
                <a:close/>
              </a:path>
            </a:pathLst>
          </a:custGeom>
          <a:solidFill>
            <a:schemeClr val="accent1"/>
          </a:solidFill>
          <a:ln w="15691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GB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EBC369F7-26ED-4748-B416-400F4315F894}"/>
              </a:ext>
            </a:extLst>
          </p:cNvPr>
          <p:cNvSpPr/>
          <p:nvPr userDrawn="1"/>
        </p:nvSpPr>
        <p:spPr>
          <a:xfrm rot="18300963" flipH="1">
            <a:off x="7568200" y="-802590"/>
            <a:ext cx="418585" cy="2961934"/>
          </a:xfrm>
          <a:custGeom>
            <a:avLst/>
            <a:gdLst>
              <a:gd name="connsiteX0" fmla="*/ 418585 w 418585"/>
              <a:gd name="connsiteY0" fmla="*/ 0 h 2961934"/>
              <a:gd name="connsiteX1" fmla="*/ 0 w 418585"/>
              <a:gd name="connsiteY1" fmla="*/ 597446 h 2961934"/>
              <a:gd name="connsiteX2" fmla="*/ 0 w 418585"/>
              <a:gd name="connsiteY2" fmla="*/ 2961934 h 2961934"/>
              <a:gd name="connsiteX3" fmla="*/ 418585 w 418585"/>
              <a:gd name="connsiteY3" fmla="*/ 2808101 h 296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585" h="2961934">
                <a:moveTo>
                  <a:pt x="418585" y="0"/>
                </a:moveTo>
                <a:lnTo>
                  <a:pt x="0" y="597446"/>
                </a:lnTo>
                <a:lnTo>
                  <a:pt x="0" y="2961934"/>
                </a:lnTo>
                <a:lnTo>
                  <a:pt x="418585" y="2808101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5868000" cy="2769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tabLst>
                <a:tab pos="447675" algn="l"/>
              </a:tabLst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473F4034-F802-8147-9CE9-2FDF5990DA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68000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6A190A09-38DF-44F3-867C-A471B79F10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51261" y="2832692"/>
            <a:ext cx="7140739" cy="4025309"/>
          </a:xfrm>
          <a:custGeom>
            <a:avLst/>
            <a:gdLst>
              <a:gd name="connsiteX0" fmla="*/ 5790363 w 7140739"/>
              <a:gd name="connsiteY0" fmla="*/ 0 h 4025309"/>
              <a:gd name="connsiteX1" fmla="*/ 7140739 w 7140739"/>
              <a:gd name="connsiteY1" fmla="*/ 938746 h 4025309"/>
              <a:gd name="connsiteX2" fmla="*/ 7140739 w 7140739"/>
              <a:gd name="connsiteY2" fmla="*/ 4025309 h 4025309"/>
              <a:gd name="connsiteX3" fmla="*/ 0 w 7140739"/>
              <a:gd name="connsiteY3" fmla="*/ 4025309 h 4025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40739" h="4025309">
                <a:moveTo>
                  <a:pt x="5790363" y="0"/>
                </a:moveTo>
                <a:lnTo>
                  <a:pt x="7140739" y="938746"/>
                </a:lnTo>
                <a:lnTo>
                  <a:pt x="7140739" y="4025309"/>
                </a:lnTo>
                <a:lnTo>
                  <a:pt x="0" y="402530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Freeform 17">
            <a:extLst>
              <a:ext uri="{FF2B5EF4-FFF2-40B4-BE49-F238E27FC236}">
                <a16:creationId xmlns:a16="http://schemas.microsoft.com/office/drawing/2014/main" id="{B6240B64-00A8-4FE7-AA5A-4A2F8B98F2A4}"/>
              </a:ext>
            </a:extLst>
          </p:cNvPr>
          <p:cNvSpPr/>
          <p:nvPr userDrawn="1"/>
        </p:nvSpPr>
        <p:spPr>
          <a:xfrm rot="3299037" flipH="1" flipV="1">
            <a:off x="5974493" y="4464643"/>
            <a:ext cx="316395" cy="3206138"/>
          </a:xfrm>
          <a:custGeom>
            <a:avLst/>
            <a:gdLst>
              <a:gd name="connsiteX0" fmla="*/ 316395 w 316395"/>
              <a:gd name="connsiteY0" fmla="*/ 3162580 h 3206138"/>
              <a:gd name="connsiteX1" fmla="*/ 0 w 316395"/>
              <a:gd name="connsiteY1" fmla="*/ 3206138 h 3206138"/>
              <a:gd name="connsiteX2" fmla="*/ 0 w 316395"/>
              <a:gd name="connsiteY2" fmla="*/ 451589 h 3206138"/>
              <a:gd name="connsiteX3" fmla="*/ 316395 w 316395"/>
              <a:gd name="connsiteY3" fmla="*/ 0 h 320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395" h="3206138">
                <a:moveTo>
                  <a:pt x="316395" y="3162580"/>
                </a:moveTo>
                <a:lnTo>
                  <a:pt x="0" y="3206138"/>
                </a:lnTo>
                <a:lnTo>
                  <a:pt x="0" y="451589"/>
                </a:lnTo>
                <a:lnTo>
                  <a:pt x="31639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EC4703DF-3E8F-47BA-BB4F-7408A471CBF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A6FAD8E-BF2F-4E8F-8FBC-5DBC65D769D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58F2F8-A64B-47AC-BB12-214DCFC4FE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000" y="388800"/>
            <a:ext cx="5868000" cy="990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04C4781-1C6F-4AD7-ABBE-AF369B7688D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44000" y="2250000"/>
            <a:ext cx="5868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4996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/ Sub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EF740B43-BCE3-48B4-A408-DEABA1AA5B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650234-DD57-4C81-AB23-92FD51EEBD7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42799" y="2249826"/>
            <a:ext cx="11303999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1198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Sub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503197B-A40F-451E-B6DA-084A5A1A2B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1178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40C6F6E-D956-4630-B168-B51632E277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650234-DD57-4C81-AB23-92FD51EEBD7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42799" y="1773238"/>
            <a:ext cx="11303999" cy="43645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3328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404D3DD-A8C5-4AF4-A4E4-A188F633D1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224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945F975-90D8-4FC9-9785-ADBE8EB862F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84910E85-A840-A34D-ACA6-7D1ECD49672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B0EA591-0F76-4C5D-A80F-BE3FFDBDE3C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33661B-FDB1-4FD2-AA10-7509875192F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56BE9C3-9D24-4D01-BA4D-BF75A9D51FE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C100CA-D516-42FC-BC3F-FAC2BD900CA3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5F455DBC-1E38-439B-BEB5-04B5EAD319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D630176-F6B5-47F2-8078-132CA09BA102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35BF33-BB6E-45E7-8DA2-B771B41B93E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42799" y="2249826"/>
            <a:ext cx="5399999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99B19804-BB2B-4735-8B2C-A604FF50836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346799" y="2249826"/>
            <a:ext cx="5399999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4405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704">
          <p15:clr>
            <a:srgbClr val="FBAE40"/>
          </p15:clr>
        </p15:guide>
        <p15:guide id="3" pos="3976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E5423F6E-0382-4DF4-9C5E-E470F9F31A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16AAC404-50AD-49DC-8CC0-C9AFE4997C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89C17C-E3C9-4300-878F-674F3FE9EA4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7847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1B7B52BA-04B5-47EB-9317-AC1C3DE483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4581D52-5A11-4CEF-A19A-C47F763A7B43}"/>
              </a:ext>
            </a:extLst>
          </p:cNvPr>
          <p:cNvSpPr/>
          <p:nvPr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1"/>
              </a:gs>
              <a:gs pos="98000">
                <a:srgbClr val="073262"/>
              </a:gs>
              <a:gs pos="33000">
                <a:schemeClr val="accent2"/>
              </a:gs>
              <a:gs pos="0">
                <a:srgbClr val="073262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800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3728C49-8B97-44DE-B314-372422AECD1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9C4AAAD0-4193-42FD-A688-B0CD9CED6745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E2A8F19F-DE6E-4F6F-B1FB-F82B517C4553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71EA3C23-FE46-4BD5-AC99-6025EBCE08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4766BF9-5F7D-49F6-81BD-0B4EBA1BC190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39C241-A37E-4FB1-AB6F-5454AC48439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42799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B9B68F2-D439-4594-AC54-2D97003187A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370799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49A707FB-2749-4A62-9BFA-375267A10C6A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98799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4">
            <a:extLst>
              <a:ext uri="{FF2B5EF4-FFF2-40B4-BE49-F238E27FC236}">
                <a16:creationId xmlns:a16="http://schemas.microsoft.com/office/drawing/2014/main" id="{D3ACC19A-B912-4B59-B8C0-B7B50203303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226798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1782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901185C5-077B-4940-8CF0-01FC961ECB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16AAC404-50AD-49DC-8CC0-C9AFE4997C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89C17C-E3C9-4300-878F-674F3FE9EA4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1360925D-64BD-4B3C-8A81-8518ADDBB2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42799" y="4412359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20383EBB-A0B3-47F7-87D6-8932F29B6F8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48799" y="4412359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390A7376-F8D9-485E-ACF1-C6D581D91DF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254798" y="4412359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092882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37363E61-7CF1-A94D-B206-5B49A9CC19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28966" y="141209"/>
            <a:ext cx="9663034" cy="6716791"/>
          </a:xfrm>
          <a:custGeom>
            <a:avLst/>
            <a:gdLst>
              <a:gd name="connsiteX0" fmla="*/ 9663034 w 9663034"/>
              <a:gd name="connsiteY0" fmla="*/ 0 h 6716791"/>
              <a:gd name="connsiteX1" fmla="*/ 9663034 w 9663034"/>
              <a:gd name="connsiteY1" fmla="*/ 4814575 h 6716791"/>
              <a:gd name="connsiteX2" fmla="*/ 6941731 w 9663034"/>
              <a:gd name="connsiteY2" fmla="*/ 6716791 h 6716791"/>
              <a:gd name="connsiteX3" fmla="*/ 0 w 9663034"/>
              <a:gd name="connsiteY3" fmla="*/ 6716791 h 6716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63034" h="6716791">
                <a:moveTo>
                  <a:pt x="9663034" y="0"/>
                </a:moveTo>
                <a:lnTo>
                  <a:pt x="9663034" y="4814575"/>
                </a:lnTo>
                <a:lnTo>
                  <a:pt x="6941731" y="6716791"/>
                </a:lnTo>
                <a:lnTo>
                  <a:pt x="0" y="67167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2645439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6A93C236-DDC8-AB42-B158-C3A75D57257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EB28338C-0118-4339-8B11-1628D97DA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1246559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2</a:t>
            </a:r>
            <a:endParaRPr lang="en-GB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842DA984-1D2F-2140-8491-B516D776CAC4}"/>
              </a:ext>
            </a:extLst>
          </p:cNvPr>
          <p:cNvSpPr/>
          <p:nvPr userDrawn="1"/>
        </p:nvSpPr>
        <p:spPr>
          <a:xfrm>
            <a:off x="0" y="4910678"/>
            <a:ext cx="4279900" cy="1947322"/>
          </a:xfrm>
          <a:custGeom>
            <a:avLst/>
            <a:gdLst>
              <a:gd name="connsiteX0" fmla="*/ 1467015 w 4279900"/>
              <a:gd name="connsiteY0" fmla="*/ 0 h 1947322"/>
              <a:gd name="connsiteX1" fmla="*/ 4279900 w 4279900"/>
              <a:gd name="connsiteY1" fmla="*/ 1947322 h 1947322"/>
              <a:gd name="connsiteX2" fmla="*/ 0 w 4279900"/>
              <a:gd name="connsiteY2" fmla="*/ 1947322 h 1947322"/>
              <a:gd name="connsiteX3" fmla="*/ 0 w 4279900"/>
              <a:gd name="connsiteY3" fmla="*/ 1020577 h 1947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79900" h="1947322">
                <a:moveTo>
                  <a:pt x="1467015" y="0"/>
                </a:moveTo>
                <a:lnTo>
                  <a:pt x="4279900" y="1947322"/>
                </a:lnTo>
                <a:lnTo>
                  <a:pt x="0" y="1947322"/>
                </a:lnTo>
                <a:lnTo>
                  <a:pt x="0" y="102057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chemeClr val="accent2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321975A5-5726-314A-B546-DA0044580E14}"/>
              </a:ext>
            </a:extLst>
          </p:cNvPr>
          <p:cNvSpPr/>
          <p:nvPr userDrawn="1"/>
        </p:nvSpPr>
        <p:spPr>
          <a:xfrm>
            <a:off x="1745857" y="5440650"/>
            <a:ext cx="2442751" cy="1417350"/>
          </a:xfrm>
          <a:custGeom>
            <a:avLst/>
            <a:gdLst>
              <a:gd name="connsiteX0" fmla="*/ 2031703 w 2442751"/>
              <a:gd name="connsiteY0" fmla="*/ 0 h 1417350"/>
              <a:gd name="connsiteX1" fmla="*/ 2442751 w 2442751"/>
              <a:gd name="connsiteY1" fmla="*/ 267995 h 1417350"/>
              <a:gd name="connsiteX2" fmla="*/ 783199 w 2442751"/>
              <a:gd name="connsiteY2" fmla="*/ 1417350 h 1417350"/>
              <a:gd name="connsiteX3" fmla="*/ 0 w 2442751"/>
              <a:gd name="connsiteY3" fmla="*/ 1417350 h 141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2751" h="1417350">
                <a:moveTo>
                  <a:pt x="2031703" y="0"/>
                </a:moveTo>
                <a:lnTo>
                  <a:pt x="2442751" y="267995"/>
                </a:lnTo>
                <a:lnTo>
                  <a:pt x="783199" y="1417350"/>
                </a:lnTo>
                <a:lnTo>
                  <a:pt x="0" y="141735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8D284C-7154-401F-9518-EB35035E34D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30" name="Freeform 28">
            <a:extLst>
              <a:ext uri="{FF2B5EF4-FFF2-40B4-BE49-F238E27FC236}">
                <a16:creationId xmlns:a16="http://schemas.microsoft.com/office/drawing/2014/main" id="{447BDDC6-505D-4732-B677-284CBEC734D1}"/>
              </a:ext>
            </a:extLst>
          </p:cNvPr>
          <p:cNvSpPr/>
          <p:nvPr userDrawn="1"/>
        </p:nvSpPr>
        <p:spPr>
          <a:xfrm rot="10800000">
            <a:off x="9763185" y="-1"/>
            <a:ext cx="2428815" cy="1426848"/>
          </a:xfrm>
          <a:custGeom>
            <a:avLst/>
            <a:gdLst>
              <a:gd name="connsiteX0" fmla="*/ 991465 w 2428815"/>
              <a:gd name="connsiteY0" fmla="*/ 1426848 h 1426848"/>
              <a:gd name="connsiteX1" fmla="*/ 0 w 2428815"/>
              <a:gd name="connsiteY1" fmla="*/ 1426848 h 1426848"/>
              <a:gd name="connsiteX2" fmla="*/ 0 w 2428815"/>
              <a:gd name="connsiteY2" fmla="*/ 1283606 h 1426848"/>
              <a:gd name="connsiteX3" fmla="*/ 1845489 w 2428815"/>
              <a:gd name="connsiteY3" fmla="*/ 0 h 1426848"/>
              <a:gd name="connsiteX4" fmla="*/ 2428815 w 2428815"/>
              <a:gd name="connsiteY4" fmla="*/ 399380 h 1426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8815" h="1426848">
                <a:moveTo>
                  <a:pt x="991465" y="1426848"/>
                </a:moveTo>
                <a:lnTo>
                  <a:pt x="0" y="1426848"/>
                </a:lnTo>
                <a:lnTo>
                  <a:pt x="0" y="1283606"/>
                </a:lnTo>
                <a:lnTo>
                  <a:pt x="1845489" y="0"/>
                </a:lnTo>
                <a:lnTo>
                  <a:pt x="2428815" y="39938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9000">
                <a:schemeClr val="accent2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7A5D467-3077-47DD-939A-561425A39FE1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57716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Object Box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1A0431F0-8CC8-49B2-BF38-C64BE300FA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84910E85-A840-A34D-ACA6-7D1ECD49672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33661B-FDB1-4FD2-AA10-7509875192F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56BE9C3-9D24-4D01-BA4D-BF75A9D51FE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C100CA-D516-42FC-BC3F-FAC2BD900CA3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6DCDD012-C59E-408C-9BC6-87284E8CBC48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46798" y="2249827"/>
            <a:ext cx="5400000" cy="3096000"/>
          </a:xfrm>
          <a:prstGeom prst="rect">
            <a:avLst/>
          </a:prstGeom>
        </p:spPr>
        <p:txBody>
          <a:bodyPr anchor="ctr" anchorCtr="0"/>
          <a:lstStyle>
            <a:lvl1pPr algn="ctr"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CBDA8CD-2DCF-4C62-A004-4DB05419240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46798" y="5448612"/>
            <a:ext cx="5400000" cy="68921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2pPr>
            <a:lvl3pPr marL="269875" indent="-269875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  <a:defRPr sz="1400">
                <a:solidFill>
                  <a:schemeClr val="tx2"/>
                </a:solidFill>
              </a:defRPr>
            </a:lvl3pPr>
            <a:lvl4pPr marL="503238" indent="-233363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</a:defRPr>
            </a:lvl4pPr>
            <a:lvl5pPr marL="717550" indent="-193675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defRPr lang="en-GB" sz="105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insert chart commentar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64264AD-E771-4AD5-B1EE-AD1A80E2730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6DA62B6-9735-4EA3-AD07-FF34EF82BD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7AC1B6-E17D-439D-A681-3E7005DA409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B988B8B-FFD1-4F96-AC27-37F2C24F27E1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42799" y="2249827"/>
            <a:ext cx="540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96826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568E834-5CC4-4939-BBCE-0A3FE71A54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0" name="Table Placeholder 2">
            <a:extLst>
              <a:ext uri="{FF2B5EF4-FFF2-40B4-BE49-F238E27FC236}">
                <a16:creationId xmlns:a16="http://schemas.microsoft.com/office/drawing/2014/main" id="{B0D006F0-61D9-476E-AD83-77162C97648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42799" y="2249826"/>
            <a:ext cx="11304000" cy="3888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IN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7F41918F-AEF0-3549-9EA6-E7B6AA50A0F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8A1AF2-E8EC-4AF2-BE91-594808F11BA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039E2CB-9F37-473F-93FB-D42BBF5BAAA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D7842F8-F35D-4368-B212-80696337494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4B9BE4BA-75D7-4854-BDC1-5F8B838545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8BC242-7955-47DB-A884-23F7B8DC8A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42657807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082C62B-85C9-4697-8529-D9FA1343B6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7F41918F-AEF0-3549-9EA6-E7B6AA50A0F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8A1AF2-E8EC-4AF2-BE91-594808F11BA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039E2CB-9F37-473F-93FB-D42BBF5BAAA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D7842F8-F35D-4368-B212-80696337494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4B9BE4BA-75D7-4854-BDC1-5F8B838545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8BC242-7955-47DB-A884-23F7B8DC8A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C54E401-1D0D-436B-85F4-4704AD03A9E8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42799" y="2249826"/>
            <a:ext cx="11304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37628688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/ Corners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B162050-E955-4275-BEF2-5423D0077F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D9AC699-128E-45D5-B4BD-EAC43A48A49E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272390D-159B-4196-85C8-AA23F030744B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C6685164-D677-427B-80C8-FE067C72B49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7020BA19-38E8-4FDA-B53A-16F1C13492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BAFA92-4783-4C5A-8253-6644BF0A1D2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5291707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125578B-6503-4AC1-BE39-49EE58B3EA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FCA5AE9-16F5-49C5-B31D-EEE1E47188C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AA9CFC4A-1CEB-4790-BACF-6EA17DF30D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379C90-D03A-4E69-A2E9-B510124AEE82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7806644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m To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FE8928F8-8E19-482D-8DBC-79B7F215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E369FB11-7907-467F-8696-2250886D64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975645" y="2852103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50000"/>
                </a:schemeClr>
              </a:gs>
              <a:gs pos="100000">
                <a:schemeClr val="accent2"/>
              </a:gs>
            </a:gsLst>
            <a:lin ang="0" scaled="1"/>
          </a:gra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r>
              <a:rPr lang="en-US"/>
              <a:t>Click to edit Master text styles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3431397E-CA6D-447B-89CE-7141F152235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913" y="2852103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481F11-552E-4AC1-B90D-84C47A0F5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913" y="2232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From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904BCC42-990A-4C9D-B509-29DF24C802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51600" y="2196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To</a:t>
            </a:r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DF459731-1012-4F51-AB8C-A81255FA384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69592" y="4016631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50000"/>
                </a:schemeClr>
              </a:gs>
              <a:gs pos="100000">
                <a:schemeClr val="accent2"/>
              </a:gs>
            </a:gsLst>
            <a:lin ang="0" scaled="1"/>
          </a:gra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r>
              <a:rPr lang="en-US"/>
              <a:t>Click to edit Master text styles</a:t>
            </a:r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02522068-1D86-4299-A574-347C2821CAF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912" y="4016631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9" name="Text Placeholder 88">
            <a:extLst>
              <a:ext uri="{FF2B5EF4-FFF2-40B4-BE49-F238E27FC236}">
                <a16:creationId xmlns:a16="http://schemas.microsoft.com/office/drawing/2014/main" id="{22D0734C-534D-4AAB-B46F-E3DC9C987D3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981700" y="5181159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50000"/>
                </a:schemeClr>
              </a:gs>
              <a:gs pos="100000">
                <a:schemeClr val="accent2"/>
              </a:gs>
            </a:gsLst>
            <a:lin ang="0" scaled="1"/>
          </a:gra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r>
              <a:rPr lang="en-US"/>
              <a:t>Click to edit Master text styles</a:t>
            </a:r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E3E31F3B-3F47-424E-9E3A-E3D439B3A60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196" y="5181159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D7F8775-4EFF-497B-A127-D347C4E65B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19C3E27-EA49-4C1F-88F7-145D73459B6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5950CD98-A671-4A84-BAA9-FF4FA6646D38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2F17EEC5-3654-468C-B185-1F74B09652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C7B8E5D-5373-4534-B7A6-D90C6CCED9DB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9366627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3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79942E38-DA26-4B18-AFCB-A57E62078A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977456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977455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601033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601033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610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8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522804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609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8992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5275650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0DE3D9A-5745-456B-8E35-49AEDDA27D34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CB7353E-1508-4EB2-B032-CFE0208BB6B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61DE440B-C47F-416C-8AEC-F66503201D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EC20A41-BC4E-4146-B326-26BC80025289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6900345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4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4B8BAC0D-870B-4BF1-AF05-F29BD7F64D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530014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530014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27492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27492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Fusce posuere, magna sed pulvinar ultricies, purus lectus malesuada libero, sit amet commodo magna eros quis urna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249702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249702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adipiscing </a:t>
            </a:r>
            <a:r>
              <a:rPr lang="en-US" err="1"/>
              <a:t>elit</a:t>
            </a:r>
            <a:r>
              <a:rPr lang="en-US"/>
              <a:t>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1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36067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481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 marL="0" indent="0">
              <a:buNone/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38589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441111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543633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3E471F1E-DBD6-42B4-BC7F-68658494AEC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C2B1C5B1-DD5C-46BD-9171-3F3551A3196C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CA5EF783-E964-4A68-BFA0-29D6D51481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4B2A3D8-BFDF-4F41-AF46-F35B3FC27A8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640531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5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46442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46441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38376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38375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031084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0309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porttitor congue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lectus </a:t>
            </a:r>
            <a:r>
              <a:rPr lang="en-US" err="1"/>
              <a:t>malesuada</a:t>
            </a:r>
            <a:r>
              <a:rPr lang="en-US"/>
              <a:t> libero, sit amet </a:t>
            </a:r>
            <a:r>
              <a:rPr lang="en-US" err="1"/>
              <a:t>commodo</a:t>
            </a:r>
            <a:r>
              <a:rPr lang="en-US"/>
              <a:t>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2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283225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3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 marL="0" indent="0">
              <a:buNone/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0898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38964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47030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0" name="Text Placeholder 99">
            <a:extLst>
              <a:ext uri="{FF2B5EF4-FFF2-40B4-BE49-F238E27FC236}">
                <a16:creationId xmlns:a16="http://schemas.microsoft.com/office/drawing/2014/main" id="{F26204A4-94F4-4D0B-A32D-54BA8095E0E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3834" y="5450885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BC8A2927-6011-4622-A038-F2F7EAC093B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891363" y="5450755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9" name="Text Placeholder 6">
            <a:extLst>
              <a:ext uri="{FF2B5EF4-FFF2-40B4-BE49-F238E27FC236}">
                <a16:creationId xmlns:a16="http://schemas.microsoft.com/office/drawing/2014/main" id="{7EA2F73C-E0F4-45B1-AB8F-530A19B4351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6415" y="55096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5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FCE79156-B96F-4F0A-B2E6-29388CAA0C8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95460F8E-68BE-4EED-81CC-C73F28ABEB6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8" name="Footer Placeholder 3">
            <a:extLst>
              <a:ext uri="{FF2B5EF4-FFF2-40B4-BE49-F238E27FC236}">
                <a16:creationId xmlns:a16="http://schemas.microsoft.com/office/drawing/2014/main" id="{18AE67F5-F98A-4F06-BBD7-E2724C877E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36C93BA-B2DB-45DF-8168-9205478FAB4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0833628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file Overview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6390E544-F9C7-46B5-9967-B0184FCBF7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879880F-2137-47AB-9566-C8A09E1C8E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20775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14CCA4F3-8BB7-4518-8D07-F4EBBBD39F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1955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5A37B0B-0741-485F-996D-2A2215AD59C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1833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DB37BA3-47E7-413A-B0E7-2CD9DCDEE8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817119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0" name="Title 3">
            <a:extLst>
              <a:ext uri="{FF2B5EF4-FFF2-40B4-BE49-F238E27FC236}">
                <a16:creationId xmlns:a16="http://schemas.microsoft.com/office/drawing/2014/main" id="{E38D729D-5227-49D7-9785-1DC1DF806F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EB6EBEF1-2298-410B-9293-C27A9A420B8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EDF3697C-568B-4AA1-9EF3-9113E2541E2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799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20E879FB-0ECA-4094-A26D-0870481E46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41580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CB7EAE9F-C1C2-4E54-947F-1DAF3E582D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40361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A12F1173-5541-4125-8BBE-11308C342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39143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942C6F7-BF76-41F2-9314-4E67256E96B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174E6F3-834D-466B-90E1-E0AC0A9201E5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DD6F617-9647-465D-AF6F-DC346B76746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CB36714-818D-4C9A-A027-DF7559699983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C4FAD300-8076-4D37-8AE8-A3847079D0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F763012-A5D4-4F14-B146-970A28A8F8C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0725357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3627052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519455F8-E443-2E47-84AE-B5E3AB72DCED}"/>
              </a:ext>
            </a:extLst>
          </p:cNvPr>
          <p:cNvSpPr/>
          <p:nvPr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7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5C50561-D087-47A2-8E0E-B095F51A359E}"/>
              </a:ext>
            </a:extLst>
          </p:cNvPr>
          <p:cNvSpPr/>
          <p:nvPr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3"/>
              </a:gs>
              <a:gs pos="92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41CDB2D-7FA5-4BA7-AEA0-FE2551E49C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260570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3</a:t>
            </a:r>
            <a:endParaRPr lang="en-GB"/>
          </a:p>
        </p:txBody>
      </p:sp>
      <p:sp>
        <p:nvSpPr>
          <p:cNvPr id="23" name="Freeform 18">
            <a:extLst>
              <a:ext uri="{FF2B5EF4-FFF2-40B4-BE49-F238E27FC236}">
                <a16:creationId xmlns:a16="http://schemas.microsoft.com/office/drawing/2014/main" id="{6F10E259-8957-4A25-A1FE-6233728BBD6A}"/>
              </a:ext>
            </a:extLst>
          </p:cNvPr>
          <p:cNvSpPr/>
          <p:nvPr userDrawn="1"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927166BE-C525-4B89-9317-E7513C3FD974}"/>
              </a:ext>
            </a:extLst>
          </p:cNvPr>
          <p:cNvSpPr/>
          <p:nvPr userDrawn="1"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6E0280A-C911-477A-9CA7-94686E8EAF5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51B5DFE-8647-49A7-BA9A-2D61704E1D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09E407E-3FDA-43A1-8AFD-D4C5DBD5A7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58748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1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AD1040E6-DB8E-454F-A1C6-10E6553195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33084D-ACDD-6849-8479-977F2DBF36CB}"/>
              </a:ext>
            </a:extLst>
          </p:cNvPr>
          <p:cNvSpPr/>
          <p:nvPr/>
        </p:nvSpPr>
        <p:spPr>
          <a:xfrm rot="5400000">
            <a:off x="5215165" y="-3348040"/>
            <a:ext cx="1759270" cy="11304000"/>
          </a:xfrm>
          <a:prstGeom prst="rect">
            <a:avLst/>
          </a:prstGeom>
          <a:gradFill>
            <a:gsLst>
              <a:gs pos="27000">
                <a:schemeClr val="accent1">
                  <a:alpha val="5000"/>
                </a:schemeClr>
              </a:gs>
              <a:gs pos="90000">
                <a:schemeClr val="accent1">
                  <a:alpha val="5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DF5872F-F6BC-7841-B29A-4A0024AAA7BE}"/>
              </a:ext>
            </a:extLst>
          </p:cNvPr>
          <p:cNvCxnSpPr>
            <a:cxnSpLocks/>
          </p:cNvCxnSpPr>
          <p:nvPr/>
        </p:nvCxnSpPr>
        <p:spPr>
          <a:xfrm>
            <a:off x="466722" y="3166948"/>
            <a:ext cx="11304000" cy="0"/>
          </a:xfrm>
          <a:prstGeom prst="line">
            <a:avLst/>
          </a:prstGeom>
          <a:ln w="22225" cap="sq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0"/>
                  </a:schemeClr>
                </a:gs>
                <a:gs pos="88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4D0F1EE-038A-408D-8E1E-3FC455A38DB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EE4BB152-A459-44BC-9E2C-DCAF8F6F7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2303F9-44E1-4307-AC9F-379BF3BE72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560374B-2FEC-4C35-99AB-CEDF599EA0B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534277" y="1512514"/>
            <a:ext cx="1723431" cy="1582892"/>
          </a:xfrm>
          <a:prstGeom prst="rect">
            <a:avLst/>
          </a:prstGeom>
          <a:blipFill>
            <a:blip r:embed="rId5"/>
            <a:stretch>
              <a:fillRect t="-13941" b="-37632"/>
            </a:stretch>
          </a:blipFill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D3253B7-AD4B-4584-A3FB-5A39DAECC47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442947" y="1779999"/>
            <a:ext cx="3348000" cy="1260000"/>
          </a:xfrm>
        </p:spPr>
        <p:txBody>
          <a:bodyPr/>
          <a:lstStyle>
            <a:lvl1pPr marL="252000" indent="-252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■"/>
              <a:defRPr sz="1200">
                <a:solidFill>
                  <a:schemeClr val="bg1"/>
                </a:solidFill>
              </a:defRPr>
            </a:lvl1pPr>
            <a:lvl2pPr marL="504000">
              <a:spcBef>
                <a:spcPts val="600"/>
              </a:spcBef>
              <a:buClr>
                <a:schemeClr val="bg1"/>
              </a:buClr>
              <a:buSzPct val="80000"/>
              <a:buFont typeface="Arial" panose="020B0604020202020204" pitchFamily="34" charset="0"/>
              <a:buChar char="►"/>
              <a:defRPr sz="1200">
                <a:solidFill>
                  <a:schemeClr val="bg1"/>
                </a:solidFill>
              </a:defRPr>
            </a:lvl2pPr>
            <a:lvl3pPr marL="756000">
              <a:spcBef>
                <a:spcPts val="3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1D7E15C-5201-465D-94F1-58DF8A2A3E3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971045" y="1779999"/>
            <a:ext cx="378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0D9D017-591F-4130-B8A8-3B543BDE478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931142" y="1779999"/>
            <a:ext cx="180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FB4C1B4-E0BE-4F26-A448-A7CF52CEBC5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42799" y="3605213"/>
            <a:ext cx="381600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EAC7EFF-C2B4-45C5-B792-B039CBB5EE85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489832" y="3605213"/>
            <a:ext cx="431028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dirty="0" smtClean="0">
                <a:solidFill>
                  <a:schemeClr val="bg1"/>
                </a:solidFill>
              </a:defRPr>
            </a:lvl1pPr>
            <a:lvl2pPr>
              <a:defRPr lang="en-US" sz="1200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sz="1200" b="0" dirty="0" smtClean="0">
                <a:solidFill>
                  <a:schemeClr val="bg1"/>
                </a:solidFill>
              </a:defRPr>
            </a:lvl4pPr>
            <a:lvl5pPr>
              <a:defRPr lang="en-US" sz="1200" dirty="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4654698-0003-4FE3-ADA4-E7AF24A3611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9031144" y="3605214"/>
            <a:ext cx="2700000" cy="72759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dirty="0" smtClean="0">
                <a:solidFill>
                  <a:schemeClr val="bg1"/>
                </a:solidFill>
              </a:defRPr>
            </a:lvl1pPr>
            <a:lvl2pPr>
              <a:buNone/>
              <a:defRPr lang="en-US" sz="1200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sz="1200" b="0" dirty="0" smtClean="0">
                <a:solidFill>
                  <a:schemeClr val="bg1"/>
                </a:solidFill>
              </a:defRPr>
            </a:lvl4pPr>
            <a:lvl5pPr>
              <a:defRPr lang="en-US" sz="1200" dirty="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95845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2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F0F05FBA-A77C-4E16-B6B6-9D2CA0F1FD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4D0F1EE-038A-408D-8E1E-3FC455A38DB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EE4BB152-A459-44BC-9E2C-DCAF8F6F7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2303F9-44E1-4307-AC9F-379BF3BE72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40" name="Picture Placeholder 16">
            <a:extLst>
              <a:ext uri="{FF2B5EF4-FFF2-40B4-BE49-F238E27FC236}">
                <a16:creationId xmlns:a16="http://schemas.microsoft.com/office/drawing/2014/main" id="{4E722CF8-E930-4BEA-A60F-E0E575C70C78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864302" y="155545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/>
            <a:stretch>
              <a:fillRect/>
            </a:stretch>
          </a:blipFill>
          <a:ln w="15875">
            <a:solidFill>
              <a:schemeClr val="accent2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DE14A7-5854-400A-86FF-2487462EA52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442947" y="1779999"/>
            <a:ext cx="3348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5767480-49E3-435C-BB96-3B6BFE3DDF1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971045" y="1779999"/>
            <a:ext cx="378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9476E80-FC3E-4911-AEB1-E2D1DD08607A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931142" y="1779999"/>
            <a:ext cx="180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33705BB-A763-40E5-B5E0-7FEDBC6BBA16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42799" y="3605213"/>
            <a:ext cx="381600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FF3360C-732E-4D01-AA8C-A329747680E7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489832" y="3605213"/>
            <a:ext cx="431028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9127438-5669-4BE6-8B97-A2FFD58A21F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031144" y="3605214"/>
            <a:ext cx="2700000" cy="72759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87464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32E7F5F-6DA6-47CB-9B20-9008A2928B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2777213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9409A921-69CE-4E73-8C64-4D322B88B0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65DC36-62B1-4EA9-8B58-1F8769E3773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1630253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adsho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B8E90BAC-3030-4955-80B2-8C3BA1224B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20BDA3C6-2C55-4EC0-92A0-2FA57310BA2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458151" y="1617885"/>
            <a:ext cx="1224430" cy="1298310"/>
          </a:xfrm>
          <a:prstGeom prst="rect">
            <a:avLst/>
          </a:prstGeom>
          <a:blipFill dpi="0" rotWithShape="1">
            <a:blip r:embed="rId5"/>
            <a:srcRect/>
            <a:stretch>
              <a:fillRect l="-9877" t="1" r="-9275" b="-5820"/>
            </a:stretch>
          </a:blipFill>
          <a:ln w="31750">
            <a:noFill/>
          </a:ln>
          <a:effectLst/>
        </p:spPr>
        <p:txBody>
          <a:bodyPr wrap="square" lIns="72000" anchor="t" anchorCtr="0">
            <a:noAutofit/>
          </a:bodyPr>
          <a:lstStyle>
            <a:lvl1pPr marL="0" indent="0" algn="l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Insert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B4BFA0FB-D432-426F-97B1-7818E24264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44762EA-DFCD-4F24-9797-407D63DA917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4496983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xagon Headsho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89E08BC-221A-4E1C-A353-29149A90C7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  <a:noFill/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DFB4B834-C56F-490A-BC1C-C54AB928B9E4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61536" y="151853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/>
            <a:stretch>
              <a:fillRect/>
            </a:stretch>
          </a:blipFill>
          <a:ln w="15875">
            <a:solidFill>
              <a:srgbClr val="00AECF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1CF07C63-A834-4BF2-9FCB-33E559B5F4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B678BD-E31D-4A5B-A4E4-810EC221D82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2444275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C6ECA7B-CD40-42BA-AF71-AFCBFCDB44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B9B8EA-2AC0-486B-955D-5AFD90844E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E7F6BA-6FF3-4807-A992-128446656EBE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41063683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xagon Graphic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>
            <a:extLst>
              <a:ext uri="{FF2B5EF4-FFF2-40B4-BE49-F238E27FC236}">
                <a16:creationId xmlns:a16="http://schemas.microsoft.com/office/drawing/2014/main" id="{C3BF6C42-748F-4DB3-B568-4B9DC8FC37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998EA4DB-4218-498A-AEC4-23CC43FE457F}"/>
              </a:ext>
            </a:extLst>
          </p:cNvPr>
          <p:cNvSpPr/>
          <p:nvPr userDrawn="1"/>
        </p:nvSpPr>
        <p:spPr>
          <a:xfrm>
            <a:off x="4490359" y="2049775"/>
            <a:ext cx="1592941" cy="1808204"/>
          </a:xfrm>
          <a:custGeom>
            <a:avLst/>
            <a:gdLst>
              <a:gd name="connsiteX0" fmla="*/ 1606503 w 1592941"/>
              <a:gd name="connsiteY0" fmla="*/ 0 h 1808203"/>
              <a:gd name="connsiteX1" fmla="*/ 1606503 w 1592941"/>
              <a:gd name="connsiteY1" fmla="*/ 1358090 h 1808203"/>
              <a:gd name="connsiteX2" fmla="*/ 972555 w 1592941"/>
              <a:gd name="connsiteY2" fmla="*/ 1804114 h 1808203"/>
              <a:gd name="connsiteX3" fmla="*/ 972555 w 1592941"/>
              <a:gd name="connsiteY3" fmla="*/ 1809065 h 1808203"/>
              <a:gd name="connsiteX4" fmla="*/ 0 w 1592941"/>
              <a:gd name="connsiteY4" fmla="*/ 1130127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2941" h="1808203">
                <a:moveTo>
                  <a:pt x="1606503" y="0"/>
                </a:moveTo>
                <a:lnTo>
                  <a:pt x="1606503" y="1358090"/>
                </a:lnTo>
                <a:lnTo>
                  <a:pt x="972555" y="1804114"/>
                </a:lnTo>
                <a:lnTo>
                  <a:pt x="972555" y="1809065"/>
                </a:lnTo>
                <a:lnTo>
                  <a:pt x="0" y="1130127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68B9C2E-6668-4C07-95F1-CB22EEC5D65E}"/>
              </a:ext>
            </a:extLst>
          </p:cNvPr>
          <p:cNvSpPr/>
          <p:nvPr userDrawn="1"/>
        </p:nvSpPr>
        <p:spPr>
          <a:xfrm>
            <a:off x="6096862" y="2046977"/>
            <a:ext cx="1614467" cy="1808204"/>
          </a:xfrm>
          <a:custGeom>
            <a:avLst/>
            <a:gdLst>
              <a:gd name="connsiteX0" fmla="*/ 1615113 w 1614467"/>
              <a:gd name="connsiteY0" fmla="*/ 1138953 h 1808203"/>
              <a:gd name="connsiteX1" fmla="*/ 1615113 w 1614467"/>
              <a:gd name="connsiteY1" fmla="*/ 1139168 h 1808203"/>
              <a:gd name="connsiteX2" fmla="*/ 633947 w 1614467"/>
              <a:gd name="connsiteY2" fmla="*/ 1818321 h 1808203"/>
              <a:gd name="connsiteX3" fmla="*/ 633947 w 1614467"/>
              <a:gd name="connsiteY3" fmla="*/ 1806912 h 1808203"/>
              <a:gd name="connsiteX4" fmla="*/ 1507 w 1614467"/>
              <a:gd name="connsiteY4" fmla="*/ 1359812 h 1808203"/>
              <a:gd name="connsiteX5" fmla="*/ 0 w 1614467"/>
              <a:gd name="connsiteY5" fmla="*/ 1360889 h 1808203"/>
              <a:gd name="connsiteX6" fmla="*/ 0 w 1614467"/>
              <a:gd name="connsiteY6" fmla="*/ 2798 h 1808203"/>
              <a:gd name="connsiteX7" fmla="*/ 3875 w 1614467"/>
              <a:gd name="connsiteY7" fmla="*/ 0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14467" h="1808203">
                <a:moveTo>
                  <a:pt x="1615113" y="1138953"/>
                </a:moveTo>
                <a:lnTo>
                  <a:pt x="1615113" y="1139168"/>
                </a:lnTo>
                <a:lnTo>
                  <a:pt x="633947" y="1818321"/>
                </a:lnTo>
                <a:lnTo>
                  <a:pt x="633947" y="1806912"/>
                </a:lnTo>
                <a:lnTo>
                  <a:pt x="1507" y="1359812"/>
                </a:lnTo>
                <a:lnTo>
                  <a:pt x="0" y="1360889"/>
                </a:lnTo>
                <a:lnTo>
                  <a:pt x="0" y="2798"/>
                </a:lnTo>
                <a:lnTo>
                  <a:pt x="3875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42C4371-8AB2-4223-BBB9-9B8FF4C11085}"/>
              </a:ext>
            </a:extLst>
          </p:cNvPr>
          <p:cNvSpPr/>
          <p:nvPr userDrawn="1"/>
        </p:nvSpPr>
        <p:spPr>
          <a:xfrm>
            <a:off x="6722414" y="3186145"/>
            <a:ext cx="968680" cy="2238728"/>
          </a:xfrm>
          <a:custGeom>
            <a:avLst/>
            <a:gdLst>
              <a:gd name="connsiteX0" fmla="*/ 989561 w 968680"/>
              <a:gd name="connsiteY0" fmla="*/ 0 h 2238728"/>
              <a:gd name="connsiteX1" fmla="*/ 989561 w 968680"/>
              <a:gd name="connsiteY1" fmla="*/ 2238083 h 2238728"/>
              <a:gd name="connsiteX2" fmla="*/ 986117 w 968680"/>
              <a:gd name="connsiteY2" fmla="*/ 2240451 h 2238728"/>
              <a:gd name="connsiteX3" fmla="*/ 0 w 968680"/>
              <a:gd name="connsiteY3" fmla="*/ 1552041 h 2238728"/>
              <a:gd name="connsiteX4" fmla="*/ 8395 w 968680"/>
              <a:gd name="connsiteY4" fmla="*/ 1546229 h 2238728"/>
              <a:gd name="connsiteX5" fmla="*/ 8395 w 968680"/>
              <a:gd name="connsiteY5" fmla="*/ 679153 h 2238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8680" h="2238728">
                <a:moveTo>
                  <a:pt x="989561" y="0"/>
                </a:moveTo>
                <a:lnTo>
                  <a:pt x="989561" y="2238083"/>
                </a:lnTo>
                <a:lnTo>
                  <a:pt x="986117" y="2240451"/>
                </a:lnTo>
                <a:lnTo>
                  <a:pt x="0" y="1552041"/>
                </a:lnTo>
                <a:lnTo>
                  <a:pt x="8395" y="1546229"/>
                </a:lnTo>
                <a:lnTo>
                  <a:pt x="8395" y="679153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4ECC8C-1257-4D1B-B1F3-8689EED79010}"/>
              </a:ext>
            </a:extLst>
          </p:cNvPr>
          <p:cNvSpPr/>
          <p:nvPr userDrawn="1"/>
        </p:nvSpPr>
        <p:spPr>
          <a:xfrm>
            <a:off x="6096862" y="4738186"/>
            <a:ext cx="1592941" cy="1765151"/>
          </a:xfrm>
          <a:custGeom>
            <a:avLst/>
            <a:gdLst>
              <a:gd name="connsiteX0" fmla="*/ 1611669 w 1592941"/>
              <a:gd name="connsiteY0" fmla="*/ 688409 h 1765151"/>
              <a:gd name="connsiteX1" fmla="*/ 0 w 1592941"/>
              <a:gd name="connsiteY1" fmla="*/ 1785386 h 1765151"/>
              <a:gd name="connsiteX2" fmla="*/ 0 w 1592941"/>
              <a:gd name="connsiteY2" fmla="*/ 425574 h 1765151"/>
              <a:gd name="connsiteX3" fmla="*/ 625552 w 1592941"/>
              <a:gd name="connsiteY3" fmla="*/ 0 h 1765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65151">
                <a:moveTo>
                  <a:pt x="1611669" y="688409"/>
                </a:moveTo>
                <a:lnTo>
                  <a:pt x="0" y="1785386"/>
                </a:lnTo>
                <a:lnTo>
                  <a:pt x="0" y="425574"/>
                </a:lnTo>
                <a:lnTo>
                  <a:pt x="625552" y="0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D7F8349-ACC4-4383-99B6-33AAF0248346}"/>
              </a:ext>
            </a:extLst>
          </p:cNvPr>
          <p:cNvSpPr/>
          <p:nvPr userDrawn="1"/>
        </p:nvSpPr>
        <p:spPr>
          <a:xfrm>
            <a:off x="4489713" y="4734957"/>
            <a:ext cx="1592941" cy="1786677"/>
          </a:xfrm>
          <a:custGeom>
            <a:avLst/>
            <a:gdLst>
              <a:gd name="connsiteX0" fmla="*/ 1607149 w 1592941"/>
              <a:gd name="connsiteY0" fmla="*/ 428803 h 1786677"/>
              <a:gd name="connsiteX1" fmla="*/ 1607149 w 1592941"/>
              <a:gd name="connsiteY1" fmla="*/ 1788615 h 1786677"/>
              <a:gd name="connsiteX2" fmla="*/ 0 w 1592941"/>
              <a:gd name="connsiteY2" fmla="*/ 681521 h 1786677"/>
              <a:gd name="connsiteX3" fmla="*/ 984610 w 1592941"/>
              <a:gd name="connsiteY3" fmla="*/ 0 h 1786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86677">
                <a:moveTo>
                  <a:pt x="1607149" y="428803"/>
                </a:moveTo>
                <a:lnTo>
                  <a:pt x="1607149" y="1788615"/>
                </a:lnTo>
                <a:lnTo>
                  <a:pt x="0" y="681521"/>
                </a:lnTo>
                <a:lnTo>
                  <a:pt x="984610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1F91A86-A4FE-4EEA-95A9-ABA2D725D4B1}"/>
              </a:ext>
            </a:extLst>
          </p:cNvPr>
          <p:cNvSpPr/>
          <p:nvPr userDrawn="1"/>
        </p:nvSpPr>
        <p:spPr>
          <a:xfrm>
            <a:off x="4481748" y="3179902"/>
            <a:ext cx="990207" cy="2217202"/>
          </a:xfrm>
          <a:custGeom>
            <a:avLst/>
            <a:gdLst>
              <a:gd name="connsiteX0" fmla="*/ 992575 w 990206"/>
              <a:gd name="connsiteY0" fmla="*/ 1555055 h 2217202"/>
              <a:gd name="connsiteX1" fmla="*/ 7965 w 990206"/>
              <a:gd name="connsiteY1" fmla="*/ 2236576 h 2217202"/>
              <a:gd name="connsiteX2" fmla="*/ 0 w 990206"/>
              <a:gd name="connsiteY2" fmla="*/ 2231194 h 2217202"/>
              <a:gd name="connsiteX3" fmla="*/ 0 w 990206"/>
              <a:gd name="connsiteY3" fmla="*/ 6027 h 2217202"/>
              <a:gd name="connsiteX4" fmla="*/ 8610 w 990206"/>
              <a:gd name="connsiteY4" fmla="*/ 0 h 2217202"/>
              <a:gd name="connsiteX5" fmla="*/ 981166 w 990206"/>
              <a:gd name="connsiteY5" fmla="*/ 678937 h 2217202"/>
              <a:gd name="connsiteX6" fmla="*/ 981166 w 990206"/>
              <a:gd name="connsiteY6" fmla="*/ 1547091 h 2217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206" h="2217202">
                <a:moveTo>
                  <a:pt x="992575" y="1555055"/>
                </a:moveTo>
                <a:lnTo>
                  <a:pt x="7965" y="2236576"/>
                </a:lnTo>
                <a:lnTo>
                  <a:pt x="0" y="2231194"/>
                </a:lnTo>
                <a:lnTo>
                  <a:pt x="0" y="6027"/>
                </a:lnTo>
                <a:lnTo>
                  <a:pt x="8610" y="0"/>
                </a:lnTo>
                <a:lnTo>
                  <a:pt x="981166" y="678937"/>
                </a:lnTo>
                <a:lnTo>
                  <a:pt x="981166" y="1547091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F71D921D-E815-F843-8D83-B6C3C16439D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 userDrawn="1"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9" name="Text Placeholder 22">
            <a:extLst>
              <a:ext uri="{FF2B5EF4-FFF2-40B4-BE49-F238E27FC236}">
                <a16:creationId xmlns:a16="http://schemas.microsoft.com/office/drawing/2014/main" id="{9C2C73CC-7BBA-4AB5-9F31-7A9948DD02C7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0" name="Text Placeholder 22">
            <a:extLst>
              <a:ext uri="{FF2B5EF4-FFF2-40B4-BE49-F238E27FC236}">
                <a16:creationId xmlns:a16="http://schemas.microsoft.com/office/drawing/2014/main" id="{ACF8BC36-C25E-4E14-81DD-43E6AD7F43E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42799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47" name="Text Placeholder 22">
            <a:extLst>
              <a:ext uri="{FF2B5EF4-FFF2-40B4-BE49-F238E27FC236}">
                <a16:creationId xmlns:a16="http://schemas.microsoft.com/office/drawing/2014/main" id="{8ED2000C-3948-4295-8AB2-77B8EA5FC36E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442799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9" name="Text Placeholder 22">
            <a:extLst>
              <a:ext uri="{FF2B5EF4-FFF2-40B4-BE49-F238E27FC236}">
                <a16:creationId xmlns:a16="http://schemas.microsoft.com/office/drawing/2014/main" id="{CAEC8480-4C52-4DF4-9AA5-B6002C4CF189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442799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0" name="Text Placeholder 22">
            <a:extLst>
              <a:ext uri="{FF2B5EF4-FFF2-40B4-BE49-F238E27FC236}">
                <a16:creationId xmlns:a16="http://schemas.microsoft.com/office/drawing/2014/main" id="{CC93A6C9-814A-45DA-9A94-78668198253B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442799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1" name="Text Placeholder 22">
            <a:extLst>
              <a:ext uri="{FF2B5EF4-FFF2-40B4-BE49-F238E27FC236}">
                <a16:creationId xmlns:a16="http://schemas.microsoft.com/office/drawing/2014/main" id="{BCC769DA-6390-4C7E-A4D7-0169214C1BD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442799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2" name="Text Placeholder 22">
            <a:extLst>
              <a:ext uri="{FF2B5EF4-FFF2-40B4-BE49-F238E27FC236}">
                <a16:creationId xmlns:a16="http://schemas.microsoft.com/office/drawing/2014/main" id="{17FB0337-BD14-4336-B29B-3DCE71A60C79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8316410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663F0B75-7DCF-4676-8D96-0F13787305EA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8316410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772D1169-69D6-46E6-8422-F6D62FEC420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16410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325DA6B-3F84-4F11-8E5F-18FF0C5E2C04}"/>
              </a:ext>
            </a:extLst>
          </p:cNvPr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8316410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69" name="Text Placeholder 22">
            <a:extLst>
              <a:ext uri="{FF2B5EF4-FFF2-40B4-BE49-F238E27FC236}">
                <a16:creationId xmlns:a16="http://schemas.microsoft.com/office/drawing/2014/main" id="{F3D91CB9-9423-4706-8307-13B75842526C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8316410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70" name="Text Placeholder 22">
            <a:extLst>
              <a:ext uri="{FF2B5EF4-FFF2-40B4-BE49-F238E27FC236}">
                <a16:creationId xmlns:a16="http://schemas.microsoft.com/office/drawing/2014/main" id="{BBDBFD81-3F25-45C4-931C-C83C44642FA1}"/>
              </a:ext>
            </a:extLst>
          </p:cNvPr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8316410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71" name="Text Placeholder 22">
            <a:extLst>
              <a:ext uri="{FF2B5EF4-FFF2-40B4-BE49-F238E27FC236}">
                <a16:creationId xmlns:a16="http://schemas.microsoft.com/office/drawing/2014/main" id="{8AF38639-9E42-4E6E-B553-2E71FACE72C6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 rot="19506392">
            <a:off x="4707211" y="2532499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2" name="Text Placeholder 22">
            <a:extLst>
              <a:ext uri="{FF2B5EF4-FFF2-40B4-BE49-F238E27FC236}">
                <a16:creationId xmlns:a16="http://schemas.microsoft.com/office/drawing/2014/main" id="{79D5FF8B-3DD9-4FCF-BC25-11B5B708C5C5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 rot="2116930">
            <a:off x="5943838" y="252371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3" name="Text Placeholder 22">
            <a:extLst>
              <a:ext uri="{FF2B5EF4-FFF2-40B4-BE49-F238E27FC236}">
                <a16:creationId xmlns:a16="http://schemas.microsoft.com/office/drawing/2014/main" id="{D62B37A5-61DE-4BC5-AC73-372745F00D33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 rot="5400000">
            <a:off x="6525291" y="3822312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4" name="Text Placeholder 22">
            <a:extLst>
              <a:ext uri="{FF2B5EF4-FFF2-40B4-BE49-F238E27FC236}">
                <a16:creationId xmlns:a16="http://schemas.microsoft.com/office/drawing/2014/main" id="{BF3E3C32-F259-4D5B-A786-01B702121B05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 rot="19561147">
            <a:off x="5958993" y="510039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5" name="Text Placeholder 22">
            <a:extLst>
              <a:ext uri="{FF2B5EF4-FFF2-40B4-BE49-F238E27FC236}">
                <a16:creationId xmlns:a16="http://schemas.microsoft.com/office/drawing/2014/main" id="{C177F396-C670-417E-A13A-5F5DC906BB47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 rot="2089401">
            <a:off x="4714637" y="5104414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6" name="Text Placeholder 22">
            <a:extLst>
              <a:ext uri="{FF2B5EF4-FFF2-40B4-BE49-F238E27FC236}">
                <a16:creationId xmlns:a16="http://schemas.microsoft.com/office/drawing/2014/main" id="{4B383110-BE85-43CD-BC20-B568C760864C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 rot="16200000">
            <a:off x="4110812" y="3845473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1272E3C2-33B0-42F0-98CB-8C8C243BF377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6052DF19-9D96-4A54-8FA3-46C146C0B5F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F5943707-01DA-43C9-BA1F-E7EE0E7D2359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2" name="Footer Placeholder 3">
            <a:extLst>
              <a:ext uri="{FF2B5EF4-FFF2-40B4-BE49-F238E27FC236}">
                <a16:creationId xmlns:a16="http://schemas.microsoft.com/office/drawing/2014/main" id="{70C02C76-34C0-477D-9B7A-973364A4E2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5A932B5-1139-4503-A7E7-6CD9AAADD06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18599861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hombus Graphic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D731281-34B6-477C-8891-B04CE728273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10E4203-08E6-4418-AD09-B8D9334C0A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1450" y="1905000"/>
            <a:ext cx="4229100" cy="4393282"/>
          </a:xfrm>
          <a:prstGeom prst="rect">
            <a:avLst/>
          </a:prstGeom>
        </p:spPr>
      </p:pic>
      <p:sp>
        <p:nvSpPr>
          <p:cNvPr id="109" name="Text Placeholder 22">
            <a:extLst>
              <a:ext uri="{FF2B5EF4-FFF2-40B4-BE49-F238E27FC236}">
                <a16:creationId xmlns:a16="http://schemas.microsoft.com/office/drawing/2014/main" id="{FBCEB81F-942E-4E7A-BE5F-A71E6B6C7C8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 rot="19531667">
            <a:off x="6418611" y="4299467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4" name="Text Placeholder 22">
            <a:extLst>
              <a:ext uri="{FF2B5EF4-FFF2-40B4-BE49-F238E27FC236}">
                <a16:creationId xmlns:a16="http://schemas.microsoft.com/office/drawing/2014/main" id="{5739B760-04F1-4E96-9625-86162A24023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 rot="2012338">
            <a:off x="4209576" y="4269079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7" name="Text Placeholder 22">
            <a:extLst>
              <a:ext uri="{FF2B5EF4-FFF2-40B4-BE49-F238E27FC236}">
                <a16:creationId xmlns:a16="http://schemas.microsoft.com/office/drawing/2014/main" id="{474ED7E6-58E4-4601-9048-F4C3A2B3CCD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2090804">
            <a:off x="6086947" y="265589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7" name="Text Placeholder 22">
            <a:extLst>
              <a:ext uri="{FF2B5EF4-FFF2-40B4-BE49-F238E27FC236}">
                <a16:creationId xmlns:a16="http://schemas.microsoft.com/office/drawing/2014/main" id="{62163FF3-A63D-42A2-B8D8-9D1C745B053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 rot="19584229">
            <a:off x="4526147" y="269911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F71D921D-E815-F843-8D83-B6C3C16439D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DF03B141-FBCC-436D-AD9E-F8C15119CD63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70AE0952-39FD-4454-AAE2-8F8D40805849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166203CE-87B2-4997-9914-45C7469F3E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BF824F2-B806-4A94-975B-1090A135866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948290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quares Graphic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C2918B75-A044-442E-B62C-FF384773B1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6B5300-F1CB-4EEB-8CC9-08A24B4A917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088657" y="2232878"/>
            <a:ext cx="1944000" cy="187200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E8187A81-DCD4-420F-A0D8-52FE345F75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B7E4039A-915B-41DC-A4D1-8E2D00283E4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F5BD438B-55CB-42C1-B923-77D8B42E6907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D0E62E42-E5B5-4D67-854C-182B2B1B94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E9E16FD-31D4-403C-98C8-58ACE1EB9DC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3614C4F9-57DD-410E-BC94-BCE40DDA85E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181219" y="2232878"/>
            <a:ext cx="1944000" cy="1872000"/>
          </a:xfrm>
          <a:prstGeom prst="rect">
            <a:avLst/>
          </a:prstGeom>
          <a:solidFill>
            <a:schemeClr val="accent3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397A3EC-F218-4325-BAC9-F15E16EFBDE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088657" y="4246307"/>
            <a:ext cx="1944000" cy="1872000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F840943-A169-4345-A64D-496EA67778E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81219" y="4246307"/>
            <a:ext cx="1944000" cy="187200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4358819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&amp; Text Boxes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0836554B-499B-4D39-9F38-475CE40E62E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C340F2F0-C5F1-4AB4-8DA4-3433AB32CA09}"/>
              </a:ext>
            </a:extLst>
          </p:cNvPr>
          <p:cNvSpPr/>
          <p:nvPr/>
        </p:nvSpPr>
        <p:spPr>
          <a:xfrm>
            <a:off x="442800" y="3969892"/>
            <a:ext cx="2592000" cy="214621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FED55F9B-215F-46F1-8BF2-58FAE022CE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2799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8" name="Picture Placeholder 2">
            <a:extLst>
              <a:ext uri="{FF2B5EF4-FFF2-40B4-BE49-F238E27FC236}">
                <a16:creationId xmlns:a16="http://schemas.microsoft.com/office/drawing/2014/main" id="{E10A83AB-065A-479D-832E-DAF6AA362A5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45617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2" name="Picture Placeholder 2">
            <a:extLst>
              <a:ext uri="{FF2B5EF4-FFF2-40B4-BE49-F238E27FC236}">
                <a16:creationId xmlns:a16="http://schemas.microsoft.com/office/drawing/2014/main" id="{9ED5828F-8F6F-4738-BC10-43B225486D5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40364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6" name="Picture Placeholder 2">
            <a:extLst>
              <a:ext uri="{FF2B5EF4-FFF2-40B4-BE49-F238E27FC236}">
                <a16:creationId xmlns:a16="http://schemas.microsoft.com/office/drawing/2014/main" id="{E738D5B4-41AD-47FF-B2C3-F953D2665B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151252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263F5F59-A06F-4A43-B481-AC3D078E4175}"/>
              </a:ext>
            </a:extLst>
          </p:cNvPr>
          <p:cNvCxnSpPr>
            <a:cxnSpLocks/>
          </p:cNvCxnSpPr>
          <p:nvPr/>
        </p:nvCxnSpPr>
        <p:spPr>
          <a:xfrm>
            <a:off x="595799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3">
            <a:extLst>
              <a:ext uri="{FF2B5EF4-FFF2-40B4-BE49-F238E27FC236}">
                <a16:creationId xmlns:a16="http://schemas.microsoft.com/office/drawing/2014/main" id="{880895D5-6A9D-45D9-84A5-B48C071FA6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17A71A41-DCC6-44B5-8D6D-901E7A96F64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7" name="Text Placeholder 22">
            <a:extLst>
              <a:ext uri="{FF2B5EF4-FFF2-40B4-BE49-F238E27FC236}">
                <a16:creationId xmlns:a16="http://schemas.microsoft.com/office/drawing/2014/main" id="{B7ADF330-AE85-40DE-835E-B49449314A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17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D17ECCBE-9451-4EF2-9377-41ED7F99FD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9173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93BA6191-995D-4A8B-8097-1BCD8EA9E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2E4D74C-410E-483B-833E-4D7AE804ABE2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883744C2-8338-4510-922E-8171C1DBABC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B42B4048-3937-457B-8213-80A2A3628E05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5" name="Footer Placeholder 3">
            <a:extLst>
              <a:ext uri="{FF2B5EF4-FFF2-40B4-BE49-F238E27FC236}">
                <a16:creationId xmlns:a16="http://schemas.microsoft.com/office/drawing/2014/main" id="{D9EBCE9F-1CDE-44DC-9CF1-533B6C4977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D7BBE5E-1B61-4CA3-801A-918DA43350A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AD6BED7-E2E8-48E7-B6C3-3D790921CE02}"/>
              </a:ext>
            </a:extLst>
          </p:cNvPr>
          <p:cNvSpPr/>
          <p:nvPr userDrawn="1"/>
        </p:nvSpPr>
        <p:spPr>
          <a:xfrm>
            <a:off x="3341581" y="3969892"/>
            <a:ext cx="2592000" cy="214621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F48163F1-E4CF-4E7D-A5AC-7F557B9F9888}"/>
              </a:ext>
            </a:extLst>
          </p:cNvPr>
          <p:cNvCxnSpPr>
            <a:cxnSpLocks/>
          </p:cNvCxnSpPr>
          <p:nvPr userDrawn="1"/>
        </p:nvCxnSpPr>
        <p:spPr>
          <a:xfrm>
            <a:off x="349305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D4DD34B9-07B3-45D6-A5BF-05306FFE4D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9305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445A936B-6A9C-4882-8BF5-60F2E1365B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7642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7818D70A-6530-4BDD-B6BD-0AF00ED04C6D}"/>
              </a:ext>
            </a:extLst>
          </p:cNvPr>
          <p:cNvSpPr/>
          <p:nvPr userDrawn="1"/>
        </p:nvSpPr>
        <p:spPr>
          <a:xfrm>
            <a:off x="6240362" y="3969892"/>
            <a:ext cx="2592000" cy="214621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3D0D619-ECCB-4AFE-A59F-858FA4BFBE68}"/>
              </a:ext>
            </a:extLst>
          </p:cNvPr>
          <p:cNvCxnSpPr>
            <a:cxnSpLocks/>
          </p:cNvCxnSpPr>
          <p:nvPr userDrawn="1"/>
        </p:nvCxnSpPr>
        <p:spPr>
          <a:xfrm>
            <a:off x="639336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22">
            <a:extLst>
              <a:ext uri="{FF2B5EF4-FFF2-40B4-BE49-F238E27FC236}">
                <a16:creationId xmlns:a16="http://schemas.microsoft.com/office/drawing/2014/main" id="{F1F9C027-3BB0-4222-86AF-4FB620642C2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9336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1" name="Text Placeholder 22">
            <a:extLst>
              <a:ext uri="{FF2B5EF4-FFF2-40B4-BE49-F238E27FC236}">
                <a16:creationId xmlns:a16="http://schemas.microsoft.com/office/drawing/2014/main" id="{13334C41-9D92-43F9-9466-EC60629C93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7673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7251D0E-07EF-48AE-B28B-8B7FE9960262}"/>
              </a:ext>
            </a:extLst>
          </p:cNvPr>
          <p:cNvSpPr/>
          <p:nvPr userDrawn="1"/>
        </p:nvSpPr>
        <p:spPr>
          <a:xfrm>
            <a:off x="9139143" y="3969892"/>
            <a:ext cx="2592000" cy="2146211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9E8C4562-237D-43E7-9629-0C9E2F6F24A4}"/>
              </a:ext>
            </a:extLst>
          </p:cNvPr>
          <p:cNvCxnSpPr>
            <a:cxnSpLocks/>
          </p:cNvCxnSpPr>
          <p:nvPr userDrawn="1"/>
        </p:nvCxnSpPr>
        <p:spPr>
          <a:xfrm>
            <a:off x="929214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 Placeholder 22">
            <a:extLst>
              <a:ext uri="{FF2B5EF4-FFF2-40B4-BE49-F238E27FC236}">
                <a16:creationId xmlns:a16="http://schemas.microsoft.com/office/drawing/2014/main" id="{181F6102-B745-4818-A0BA-504371F2668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75518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2C37B76-7729-4001-A7C4-B08D2F98971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7551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212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3">
            <a:extLst>
              <a:ext uri="{FF2B5EF4-FFF2-40B4-BE49-F238E27FC236}">
                <a16:creationId xmlns:a16="http://schemas.microsoft.com/office/drawing/2014/main" id="{D80F8535-1B37-C640-9522-9FFE23DA8F4E}"/>
              </a:ext>
            </a:extLst>
          </p:cNvPr>
          <p:cNvSpPr/>
          <p:nvPr/>
        </p:nvSpPr>
        <p:spPr>
          <a:xfrm>
            <a:off x="-6225" y="4376941"/>
            <a:ext cx="6589331" cy="2481059"/>
          </a:xfrm>
          <a:custGeom>
            <a:avLst/>
            <a:gdLst>
              <a:gd name="connsiteX0" fmla="*/ 3012948 w 6589331"/>
              <a:gd name="connsiteY0" fmla="*/ 0 h 2481059"/>
              <a:gd name="connsiteX1" fmla="*/ 6589331 w 6589331"/>
              <a:gd name="connsiteY1" fmla="*/ 2471153 h 2481059"/>
              <a:gd name="connsiteX2" fmla="*/ 5715 w 6589331"/>
              <a:gd name="connsiteY2" fmla="*/ 2481059 h 2481059"/>
              <a:gd name="connsiteX3" fmla="*/ 0 w 6589331"/>
              <a:gd name="connsiteY3" fmla="*/ 2472071 h 2481059"/>
              <a:gd name="connsiteX4" fmla="*/ 0 w 6589331"/>
              <a:gd name="connsiteY4" fmla="*/ 2094159 h 2481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9331" h="2481059">
                <a:moveTo>
                  <a:pt x="3012948" y="0"/>
                </a:moveTo>
                <a:lnTo>
                  <a:pt x="6589331" y="2471153"/>
                </a:lnTo>
                <a:lnTo>
                  <a:pt x="5715" y="2481059"/>
                </a:lnTo>
                <a:lnTo>
                  <a:pt x="0" y="2472071"/>
                </a:lnTo>
                <a:lnTo>
                  <a:pt x="0" y="2094159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E0BA6F1B-DB4E-4726-82C8-F69E131B99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74257" y="2540943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95833C23-279C-584E-A024-2A31807A9274}"/>
              </a:ext>
            </a:extLst>
          </p:cNvPr>
          <p:cNvSpPr/>
          <p:nvPr/>
        </p:nvSpPr>
        <p:spPr>
          <a:xfrm flipH="1">
            <a:off x="4047304" y="5413691"/>
            <a:ext cx="4092877" cy="1449275"/>
          </a:xfrm>
          <a:custGeom>
            <a:avLst/>
            <a:gdLst>
              <a:gd name="connsiteX0" fmla="*/ 2044180 w 4092877"/>
              <a:gd name="connsiteY0" fmla="*/ 0 h 1449275"/>
              <a:gd name="connsiteX1" fmla="*/ 0 w 4092877"/>
              <a:gd name="connsiteY1" fmla="*/ 1449275 h 1449275"/>
              <a:gd name="connsiteX2" fmla="*/ 4092877 w 4092877"/>
              <a:gd name="connsiteY2" fmla="*/ 1449275 h 1449275"/>
              <a:gd name="connsiteX3" fmla="*/ 3674121 w 4092877"/>
              <a:gd name="connsiteY3" fmla="*/ 1155304 h 1449275"/>
              <a:gd name="connsiteX4" fmla="*/ 2044180 w 4092877"/>
              <a:gd name="connsiteY4" fmla="*/ 0 h 14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2877" h="1449275">
                <a:moveTo>
                  <a:pt x="2044180" y="0"/>
                </a:moveTo>
                <a:lnTo>
                  <a:pt x="0" y="1449275"/>
                </a:lnTo>
                <a:lnTo>
                  <a:pt x="4092877" y="1449275"/>
                </a:lnTo>
                <a:lnTo>
                  <a:pt x="3674121" y="1155304"/>
                </a:lnTo>
                <a:cubicBezTo>
                  <a:pt x="3130807" y="770202"/>
                  <a:pt x="2569124" y="363906"/>
                  <a:pt x="204418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35000"/>
                </a:schemeClr>
              </a:gs>
              <a:gs pos="50000">
                <a:schemeClr val="accent2"/>
              </a:gs>
              <a:gs pos="98000">
                <a:schemeClr val="accent2">
                  <a:alpha val="3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6F00C93-F8EE-4584-A029-7488D3966167}"/>
              </a:ext>
            </a:extLst>
          </p:cNvPr>
          <p:cNvSpPr/>
          <p:nvPr/>
        </p:nvSpPr>
        <p:spPr>
          <a:xfrm>
            <a:off x="-511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CECEFDB-7B1D-4D53-AFB2-2A3E81E50E9C}"/>
              </a:ext>
            </a:extLst>
          </p:cNvPr>
          <p:cNvSpPr/>
          <p:nvPr/>
        </p:nvSpPr>
        <p:spPr>
          <a:xfrm flipH="1">
            <a:off x="7929175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997A980-7EC0-453E-ABF1-4DC83EB7CB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1239876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tx2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4</a:t>
            </a:r>
            <a:endParaRPr lang="en-GB"/>
          </a:p>
        </p:txBody>
      </p:sp>
      <p:sp>
        <p:nvSpPr>
          <p:cNvPr id="20" name="Freeform 23">
            <a:extLst>
              <a:ext uri="{FF2B5EF4-FFF2-40B4-BE49-F238E27FC236}">
                <a16:creationId xmlns:a16="http://schemas.microsoft.com/office/drawing/2014/main" id="{4AACB9C7-803C-4152-82CB-67927F253134}"/>
              </a:ext>
            </a:extLst>
          </p:cNvPr>
          <p:cNvSpPr/>
          <p:nvPr userDrawn="1"/>
        </p:nvSpPr>
        <p:spPr>
          <a:xfrm>
            <a:off x="-6225" y="4376941"/>
            <a:ext cx="6589331" cy="2481059"/>
          </a:xfrm>
          <a:custGeom>
            <a:avLst/>
            <a:gdLst>
              <a:gd name="connsiteX0" fmla="*/ 3012948 w 6589331"/>
              <a:gd name="connsiteY0" fmla="*/ 0 h 2481059"/>
              <a:gd name="connsiteX1" fmla="*/ 6589331 w 6589331"/>
              <a:gd name="connsiteY1" fmla="*/ 2471153 h 2481059"/>
              <a:gd name="connsiteX2" fmla="*/ 5715 w 6589331"/>
              <a:gd name="connsiteY2" fmla="*/ 2481059 h 2481059"/>
              <a:gd name="connsiteX3" fmla="*/ 0 w 6589331"/>
              <a:gd name="connsiteY3" fmla="*/ 2472071 h 2481059"/>
              <a:gd name="connsiteX4" fmla="*/ 0 w 6589331"/>
              <a:gd name="connsiteY4" fmla="*/ 2094159 h 2481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9331" h="2481059">
                <a:moveTo>
                  <a:pt x="3012948" y="0"/>
                </a:moveTo>
                <a:lnTo>
                  <a:pt x="6589331" y="2471153"/>
                </a:lnTo>
                <a:lnTo>
                  <a:pt x="5715" y="2481059"/>
                </a:lnTo>
                <a:lnTo>
                  <a:pt x="0" y="2472071"/>
                </a:lnTo>
                <a:lnTo>
                  <a:pt x="0" y="2094159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38F6177-211A-49BE-ABB9-97949A54E26E}"/>
              </a:ext>
            </a:extLst>
          </p:cNvPr>
          <p:cNvSpPr/>
          <p:nvPr userDrawn="1"/>
        </p:nvSpPr>
        <p:spPr>
          <a:xfrm>
            <a:off x="-511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D7EF89F-2526-415C-BBDF-59E49A45CE8B}"/>
              </a:ext>
            </a:extLst>
          </p:cNvPr>
          <p:cNvSpPr/>
          <p:nvPr userDrawn="1"/>
        </p:nvSpPr>
        <p:spPr>
          <a:xfrm flipH="1">
            <a:off x="7929175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480B66D4-A5F5-624A-B6B3-939B1AD7D213}"/>
              </a:ext>
            </a:extLst>
          </p:cNvPr>
          <p:cNvSpPr/>
          <p:nvPr userDrawn="1"/>
        </p:nvSpPr>
        <p:spPr>
          <a:xfrm flipH="1">
            <a:off x="5606920" y="4371977"/>
            <a:ext cx="6580566" cy="2490989"/>
          </a:xfrm>
          <a:custGeom>
            <a:avLst/>
            <a:gdLst>
              <a:gd name="connsiteX0" fmla="*/ 3009863 w 6580566"/>
              <a:gd name="connsiteY0" fmla="*/ 0 h 2490989"/>
              <a:gd name="connsiteX1" fmla="*/ 0 w 6580566"/>
              <a:gd name="connsiteY1" fmla="*/ 2099561 h 2490989"/>
              <a:gd name="connsiteX2" fmla="*/ 0 w 6580566"/>
              <a:gd name="connsiteY2" fmla="*/ 2490989 h 2490989"/>
              <a:gd name="connsiteX3" fmla="*/ 5268197 w 6580566"/>
              <a:gd name="connsiteY3" fmla="*/ 2490989 h 2490989"/>
              <a:gd name="connsiteX4" fmla="*/ 6580566 w 6580566"/>
              <a:gd name="connsiteY4" fmla="*/ 2476120 h 2490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566" h="2490989">
                <a:moveTo>
                  <a:pt x="3009863" y="0"/>
                </a:moveTo>
                <a:lnTo>
                  <a:pt x="0" y="2099561"/>
                </a:lnTo>
                <a:lnTo>
                  <a:pt x="0" y="2490989"/>
                </a:lnTo>
                <a:lnTo>
                  <a:pt x="5268197" y="2490989"/>
                </a:lnTo>
                <a:lnTo>
                  <a:pt x="6580566" y="2476120"/>
                </a:lnTo>
                <a:close/>
              </a:path>
            </a:pathLst>
          </a:custGeom>
          <a:gradFill>
            <a:gsLst>
              <a:gs pos="28000">
                <a:schemeClr val="accent1">
                  <a:alpha val="0"/>
                </a:schemeClr>
              </a:gs>
              <a:gs pos="92000">
                <a:schemeClr val="accent1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 21">
            <a:extLst>
              <a:ext uri="{FF2B5EF4-FFF2-40B4-BE49-F238E27FC236}">
                <a16:creationId xmlns:a16="http://schemas.microsoft.com/office/drawing/2014/main" id="{2168F68C-9AED-427E-85F9-E8C1393F181B}"/>
              </a:ext>
            </a:extLst>
          </p:cNvPr>
          <p:cNvSpPr/>
          <p:nvPr userDrawn="1"/>
        </p:nvSpPr>
        <p:spPr>
          <a:xfrm flipH="1">
            <a:off x="5606920" y="4371977"/>
            <a:ext cx="6580566" cy="2490989"/>
          </a:xfrm>
          <a:custGeom>
            <a:avLst/>
            <a:gdLst>
              <a:gd name="connsiteX0" fmla="*/ 3009863 w 6580566"/>
              <a:gd name="connsiteY0" fmla="*/ 0 h 2490989"/>
              <a:gd name="connsiteX1" fmla="*/ 0 w 6580566"/>
              <a:gd name="connsiteY1" fmla="*/ 2099561 h 2490989"/>
              <a:gd name="connsiteX2" fmla="*/ 0 w 6580566"/>
              <a:gd name="connsiteY2" fmla="*/ 2490989 h 2490989"/>
              <a:gd name="connsiteX3" fmla="*/ 5268197 w 6580566"/>
              <a:gd name="connsiteY3" fmla="*/ 2490989 h 2490989"/>
              <a:gd name="connsiteX4" fmla="*/ 6580566 w 6580566"/>
              <a:gd name="connsiteY4" fmla="*/ 2476120 h 2490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566" h="2490989">
                <a:moveTo>
                  <a:pt x="3009863" y="0"/>
                </a:moveTo>
                <a:lnTo>
                  <a:pt x="0" y="2099561"/>
                </a:lnTo>
                <a:lnTo>
                  <a:pt x="0" y="2490989"/>
                </a:lnTo>
                <a:lnTo>
                  <a:pt x="5268197" y="2490989"/>
                </a:lnTo>
                <a:lnTo>
                  <a:pt x="6580566" y="2476120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3" name="Freeform 16">
            <a:extLst>
              <a:ext uri="{FF2B5EF4-FFF2-40B4-BE49-F238E27FC236}">
                <a16:creationId xmlns:a16="http://schemas.microsoft.com/office/drawing/2014/main" id="{B65377BA-7EEE-4F72-8CAE-57BDF7345B46}"/>
              </a:ext>
            </a:extLst>
          </p:cNvPr>
          <p:cNvSpPr/>
          <p:nvPr userDrawn="1"/>
        </p:nvSpPr>
        <p:spPr>
          <a:xfrm flipH="1">
            <a:off x="4047304" y="5413691"/>
            <a:ext cx="4092877" cy="1449275"/>
          </a:xfrm>
          <a:custGeom>
            <a:avLst/>
            <a:gdLst>
              <a:gd name="connsiteX0" fmla="*/ 2044180 w 4092877"/>
              <a:gd name="connsiteY0" fmla="*/ 0 h 1449275"/>
              <a:gd name="connsiteX1" fmla="*/ 0 w 4092877"/>
              <a:gd name="connsiteY1" fmla="*/ 1449275 h 1449275"/>
              <a:gd name="connsiteX2" fmla="*/ 4092877 w 4092877"/>
              <a:gd name="connsiteY2" fmla="*/ 1449275 h 1449275"/>
              <a:gd name="connsiteX3" fmla="*/ 3674121 w 4092877"/>
              <a:gd name="connsiteY3" fmla="*/ 1155304 h 1449275"/>
              <a:gd name="connsiteX4" fmla="*/ 2044180 w 4092877"/>
              <a:gd name="connsiteY4" fmla="*/ 0 h 14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2877" h="1449275">
                <a:moveTo>
                  <a:pt x="2044180" y="0"/>
                </a:moveTo>
                <a:lnTo>
                  <a:pt x="0" y="1449275"/>
                </a:lnTo>
                <a:lnTo>
                  <a:pt x="4092877" y="1449275"/>
                </a:lnTo>
                <a:lnTo>
                  <a:pt x="3674121" y="1155304"/>
                </a:lnTo>
                <a:cubicBezTo>
                  <a:pt x="3130807" y="770202"/>
                  <a:pt x="2569124" y="363906"/>
                  <a:pt x="204418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35000"/>
                </a:schemeClr>
              </a:gs>
              <a:gs pos="50000">
                <a:schemeClr val="accent2"/>
              </a:gs>
              <a:gs pos="98000">
                <a:schemeClr val="accent2">
                  <a:alpha val="3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A764AC80-FAC7-4BD1-B73A-91406AC014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8134"/>
            <a:ext cx="935900" cy="2700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A45E612-A8E3-4C77-9438-EC1BFADA331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079725B-1CBE-4221-997B-07640A54E0D0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6515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w/ Icons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A701FB85-C272-4F67-9376-36F249DCAFBF}"/>
              </a:ext>
            </a:extLst>
          </p:cNvPr>
          <p:cNvSpPr/>
          <p:nvPr userDrawn="1"/>
        </p:nvSpPr>
        <p:spPr>
          <a:xfrm>
            <a:off x="3020406" y="0"/>
            <a:ext cx="917159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1ED8F4F-C0B6-428A-8156-2EAE02418D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20764" y="2408983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6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2219E8E-B81B-42A6-9777-5061C48EB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948473" y="4427669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D3371-D5A0-444B-8039-E662C6EAB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20764" y="390296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1A0F3B76-3382-9248-82C0-E233897683C1}"/>
              </a:ext>
            </a:extLst>
          </p:cNvPr>
          <p:cNvSpPr/>
          <p:nvPr/>
        </p:nvSpPr>
        <p:spPr>
          <a:xfrm>
            <a:off x="0" y="5458906"/>
            <a:ext cx="3131911" cy="1406635"/>
          </a:xfrm>
          <a:custGeom>
            <a:avLst/>
            <a:gdLst>
              <a:gd name="connsiteX0" fmla="*/ 1069980 w 3131911"/>
              <a:gd name="connsiteY0" fmla="*/ 0 h 1406635"/>
              <a:gd name="connsiteX1" fmla="*/ 3131911 w 3131911"/>
              <a:gd name="connsiteY1" fmla="*/ 1406635 h 1406635"/>
              <a:gd name="connsiteX2" fmla="*/ 0 w 3131911"/>
              <a:gd name="connsiteY2" fmla="*/ 1406635 h 1406635"/>
              <a:gd name="connsiteX3" fmla="*/ 0 w 3131911"/>
              <a:gd name="connsiteY3" fmla="*/ 751147 h 1406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1911" h="1406635">
                <a:moveTo>
                  <a:pt x="1069980" y="0"/>
                </a:moveTo>
                <a:lnTo>
                  <a:pt x="3131911" y="1406635"/>
                </a:lnTo>
                <a:lnTo>
                  <a:pt x="0" y="1406635"/>
                </a:lnTo>
                <a:lnTo>
                  <a:pt x="0" y="75114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rgbClr val="073262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7FBD1F2-8F8E-4ED2-B94D-477D0A3B1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813"/>
          <a:stretch/>
        </p:blipFill>
        <p:spPr>
          <a:xfrm>
            <a:off x="-29603" y="0"/>
            <a:ext cx="4772841" cy="685800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30">
            <a:extLst>
              <a:ext uri="{FF2B5EF4-FFF2-40B4-BE49-F238E27FC236}">
                <a16:creationId xmlns:a16="http://schemas.microsoft.com/office/drawing/2014/main" id="{9B2D83E3-7F99-7D4F-8872-D013EB064C64}"/>
              </a:ext>
            </a:extLst>
          </p:cNvPr>
          <p:cNvSpPr/>
          <p:nvPr/>
        </p:nvSpPr>
        <p:spPr>
          <a:xfrm flipH="1">
            <a:off x="1463681" y="5720587"/>
            <a:ext cx="2037801" cy="1137413"/>
          </a:xfrm>
          <a:custGeom>
            <a:avLst/>
            <a:gdLst>
              <a:gd name="connsiteX0" fmla="*/ 1647526 w 2037801"/>
              <a:gd name="connsiteY0" fmla="*/ 0 h 1137413"/>
              <a:gd name="connsiteX1" fmla="*/ 0 w 2037801"/>
              <a:gd name="connsiteY1" fmla="*/ 1137412 h 1137413"/>
              <a:gd name="connsiteX2" fmla="*/ 4 w 2037801"/>
              <a:gd name="connsiteY2" fmla="*/ 1137413 h 1137413"/>
              <a:gd name="connsiteX3" fmla="*/ 763670 w 2037801"/>
              <a:gd name="connsiteY3" fmla="*/ 1137413 h 1137413"/>
              <a:gd name="connsiteX4" fmla="*/ 2037801 w 2037801"/>
              <a:gd name="connsiteY4" fmla="*/ 260147 h 113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7801" h="1137413">
                <a:moveTo>
                  <a:pt x="1647526" y="0"/>
                </a:moveTo>
                <a:lnTo>
                  <a:pt x="0" y="1137412"/>
                </a:lnTo>
                <a:lnTo>
                  <a:pt x="4" y="1137413"/>
                </a:lnTo>
                <a:lnTo>
                  <a:pt x="763670" y="1137413"/>
                </a:lnTo>
                <a:lnTo>
                  <a:pt x="2037801" y="26014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00D3F3F-CEDE-AA4A-B072-12C37EE83EF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AAC0CD-3BB0-4D9E-A908-07FDE5E8E65A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A23EC76-A22A-47BD-BB6E-CAADBA2F82A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4671103-7E79-47FF-8825-80F398220656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7E3823-172A-41D7-9615-01B526ADC265}"/>
              </a:ext>
            </a:extLst>
          </p:cNvPr>
          <p:cNvGrpSpPr/>
          <p:nvPr userDrawn="1"/>
        </p:nvGrpSpPr>
        <p:grpSpPr>
          <a:xfrm>
            <a:off x="5348713" y="390296"/>
            <a:ext cx="377904" cy="521508"/>
            <a:chOff x="5302993" y="401719"/>
            <a:chExt cx="377904" cy="521508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09B9F4C-9DEC-4C04-B351-C0AF80F0C2A2}"/>
                </a:ext>
              </a:extLst>
            </p:cNvPr>
            <p:cNvSpPr/>
            <p:nvPr userDrawn="1"/>
          </p:nvSpPr>
          <p:spPr>
            <a:xfrm>
              <a:off x="5302993" y="401719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1F1A1A7D-1BE7-41E8-AC2D-AE6B08947B2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358595" y="510073"/>
              <a:ext cx="266700" cy="3048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EE4C06B-38BA-4258-A35B-A740ADC05DF2}"/>
              </a:ext>
            </a:extLst>
          </p:cNvPr>
          <p:cNvGrpSpPr/>
          <p:nvPr userDrawn="1"/>
        </p:nvGrpSpPr>
        <p:grpSpPr>
          <a:xfrm>
            <a:off x="5376422" y="4427669"/>
            <a:ext cx="377904" cy="521508"/>
            <a:chOff x="5302993" y="4340636"/>
            <a:chExt cx="377904" cy="521508"/>
          </a:xfrm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90BBA3B-007E-49C2-B8B9-A965F9165FC7}"/>
                </a:ext>
              </a:extLst>
            </p:cNvPr>
            <p:cNvSpPr/>
            <p:nvPr userDrawn="1"/>
          </p:nvSpPr>
          <p:spPr>
            <a:xfrm>
              <a:off x="5302993" y="434063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C0C001C4-EE98-4465-8B7B-D8A818ED696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5367950" y="4472435"/>
              <a:ext cx="247990" cy="257910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F5648FF-6840-4E1E-B545-5ECC7A2C57F2}"/>
              </a:ext>
            </a:extLst>
          </p:cNvPr>
          <p:cNvGrpSpPr/>
          <p:nvPr userDrawn="1"/>
        </p:nvGrpSpPr>
        <p:grpSpPr>
          <a:xfrm>
            <a:off x="5348713" y="2408983"/>
            <a:ext cx="377904" cy="521508"/>
            <a:chOff x="5302993" y="2446026"/>
            <a:chExt cx="377904" cy="521508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C056E5A-50B8-4FF1-9AD8-E4003692D263}"/>
                </a:ext>
              </a:extLst>
            </p:cNvPr>
            <p:cNvSpPr/>
            <p:nvPr userDrawn="1"/>
          </p:nvSpPr>
          <p:spPr>
            <a:xfrm>
              <a:off x="5302993" y="244602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6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D99936D8-E816-4D48-9BE0-BF3EFC24B9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5379372" y="2567719"/>
              <a:ext cx="225147" cy="278123"/>
            </a:xfrm>
            <a:prstGeom prst="rect">
              <a:avLst/>
            </a:prstGeom>
          </p:spPr>
        </p:pic>
      </p:grp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E794FE20-82FD-46D6-9711-962A1049D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AFECE-15A3-416B-B50A-EBF3EED088E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82371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5F519C3B-7679-44F1-B6BE-2792888A5E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30" name="Freeform 29">
            <a:extLst>
              <a:ext uri="{FF2B5EF4-FFF2-40B4-BE49-F238E27FC236}">
                <a16:creationId xmlns:a16="http://schemas.microsoft.com/office/drawing/2014/main" id="{1A0F3B76-3382-9248-82C0-E233897683C1}"/>
              </a:ext>
            </a:extLst>
          </p:cNvPr>
          <p:cNvSpPr/>
          <p:nvPr/>
        </p:nvSpPr>
        <p:spPr>
          <a:xfrm>
            <a:off x="0" y="5458906"/>
            <a:ext cx="3131911" cy="1406635"/>
          </a:xfrm>
          <a:custGeom>
            <a:avLst/>
            <a:gdLst>
              <a:gd name="connsiteX0" fmla="*/ 1069980 w 3131911"/>
              <a:gd name="connsiteY0" fmla="*/ 0 h 1406635"/>
              <a:gd name="connsiteX1" fmla="*/ 3131911 w 3131911"/>
              <a:gd name="connsiteY1" fmla="*/ 1406635 h 1406635"/>
              <a:gd name="connsiteX2" fmla="*/ 0 w 3131911"/>
              <a:gd name="connsiteY2" fmla="*/ 1406635 h 1406635"/>
              <a:gd name="connsiteX3" fmla="*/ 0 w 3131911"/>
              <a:gd name="connsiteY3" fmla="*/ 751147 h 1406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1911" h="1406635">
                <a:moveTo>
                  <a:pt x="1069980" y="0"/>
                </a:moveTo>
                <a:lnTo>
                  <a:pt x="3131911" y="1406635"/>
                </a:lnTo>
                <a:lnTo>
                  <a:pt x="0" y="1406635"/>
                </a:lnTo>
                <a:lnTo>
                  <a:pt x="0" y="75114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rgbClr val="073262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7FBD1F2-8F8E-4ED2-B94D-477D0A3B1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813"/>
          <a:stretch/>
        </p:blipFill>
        <p:spPr>
          <a:xfrm>
            <a:off x="0" y="0"/>
            <a:ext cx="4772841" cy="685800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30">
            <a:extLst>
              <a:ext uri="{FF2B5EF4-FFF2-40B4-BE49-F238E27FC236}">
                <a16:creationId xmlns:a16="http://schemas.microsoft.com/office/drawing/2014/main" id="{9B2D83E3-7F99-7D4F-8872-D013EB064C64}"/>
              </a:ext>
            </a:extLst>
          </p:cNvPr>
          <p:cNvSpPr/>
          <p:nvPr/>
        </p:nvSpPr>
        <p:spPr>
          <a:xfrm flipH="1">
            <a:off x="1463681" y="5720587"/>
            <a:ext cx="2037801" cy="1137413"/>
          </a:xfrm>
          <a:custGeom>
            <a:avLst/>
            <a:gdLst>
              <a:gd name="connsiteX0" fmla="*/ 1647526 w 2037801"/>
              <a:gd name="connsiteY0" fmla="*/ 0 h 1137413"/>
              <a:gd name="connsiteX1" fmla="*/ 0 w 2037801"/>
              <a:gd name="connsiteY1" fmla="*/ 1137412 h 1137413"/>
              <a:gd name="connsiteX2" fmla="*/ 4 w 2037801"/>
              <a:gd name="connsiteY2" fmla="*/ 1137413 h 1137413"/>
              <a:gd name="connsiteX3" fmla="*/ 763670 w 2037801"/>
              <a:gd name="connsiteY3" fmla="*/ 1137413 h 1137413"/>
              <a:gd name="connsiteX4" fmla="*/ 2037801 w 2037801"/>
              <a:gd name="connsiteY4" fmla="*/ 260147 h 113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7801" h="1137413">
                <a:moveTo>
                  <a:pt x="1647526" y="0"/>
                </a:moveTo>
                <a:lnTo>
                  <a:pt x="0" y="1137412"/>
                </a:lnTo>
                <a:lnTo>
                  <a:pt x="4" y="1137413"/>
                </a:lnTo>
                <a:lnTo>
                  <a:pt x="763670" y="1137413"/>
                </a:lnTo>
                <a:lnTo>
                  <a:pt x="2037801" y="26014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00D3F3F-CEDE-AA4A-B072-12C37EE83EF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AAC0CD-3BB0-4D9E-A908-07FDE5E8E65A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A23EC76-A22A-47BD-BB6E-CAADBA2F82A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4671103-7E79-47FF-8825-80F398220656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E794FE20-82FD-46D6-9711-962A1049D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AFECE-15A3-416B-B50A-EBF3EED088E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D7DA9FC-4A8A-474C-A470-0A89FD6D35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1160" y="2408983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6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37082A0-E26A-4C9D-84EC-E66A1C56E1B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38869" y="4427669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06B4988-6484-41EF-A3B1-D23D8B5E83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11160" y="390296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947981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7D2F9448-0442-4289-9A73-5E06016513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E1BFC2F-99FE-45E8-9D6F-546CAB2241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3385E9-575A-4E97-BE38-0A19A73B40A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EECBC3-0434-4E5B-80EB-F18E5858D660}"/>
              </a:ext>
            </a:extLst>
          </p:cNvPr>
          <p:cNvCxnSpPr>
            <a:cxnSpLocks/>
          </p:cNvCxnSpPr>
          <p:nvPr userDrawn="1"/>
        </p:nvCxnSpPr>
        <p:spPr>
          <a:xfrm>
            <a:off x="442799" y="3214819"/>
            <a:ext cx="4932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34">
            <a:extLst>
              <a:ext uri="{FF2B5EF4-FFF2-40B4-BE49-F238E27FC236}">
                <a16:creationId xmlns:a16="http://schemas.microsoft.com/office/drawing/2014/main" id="{5A1ED52C-F219-40BD-AD78-26E909BD31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442799" y="3565604"/>
            <a:ext cx="2810216" cy="1168340"/>
          </a:xfrm>
          <a:prstGeom prst="rect">
            <a:avLst/>
          </a:prstGeom>
        </p:spPr>
      </p:pic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BECDE2C7-ADDA-481D-93A9-E61494A648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9C7DB8-50DE-4F4D-8D3A-E1B644BEBD0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13" name="Freeform: Shape 38">
            <a:extLst>
              <a:ext uri="{FF2B5EF4-FFF2-40B4-BE49-F238E27FC236}">
                <a16:creationId xmlns:a16="http://schemas.microsoft.com/office/drawing/2014/main" id="{5BEACAC3-A4D3-4A5A-BCBD-6A6FB904BDBC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C2A9049B-2A71-4DF7-A59B-F291023D31D2}"/>
              </a:ext>
            </a:extLst>
          </p:cNvPr>
          <p:cNvSpPr/>
          <p:nvPr userDrawn="1"/>
        </p:nvSpPr>
        <p:spPr>
          <a:xfrm>
            <a:off x="10121759" y="2893156"/>
            <a:ext cx="2070240" cy="2020997"/>
          </a:xfrm>
          <a:custGeom>
            <a:avLst/>
            <a:gdLst>
              <a:gd name="connsiteX0" fmla="*/ 803684 w 2070240"/>
              <a:gd name="connsiteY0" fmla="*/ 0 h 2020997"/>
              <a:gd name="connsiteX1" fmla="*/ 2069497 w 2070240"/>
              <a:gd name="connsiteY1" fmla="*/ 889314 h 2020997"/>
              <a:gd name="connsiteX2" fmla="*/ 2069597 w 2070240"/>
              <a:gd name="connsiteY2" fmla="*/ 713297 h 2020997"/>
              <a:gd name="connsiteX3" fmla="*/ 2070240 w 2070240"/>
              <a:gd name="connsiteY3" fmla="*/ 713739 h 2020997"/>
              <a:gd name="connsiteX4" fmla="*/ 2069497 w 2070240"/>
              <a:gd name="connsiteY4" fmla="*/ 2020997 h 2020997"/>
              <a:gd name="connsiteX5" fmla="*/ 0 w 2070240"/>
              <a:gd name="connsiteY5" fmla="*/ 567044 h 202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0240" h="2020997">
                <a:moveTo>
                  <a:pt x="803684" y="0"/>
                </a:moveTo>
                <a:lnTo>
                  <a:pt x="2069497" y="889314"/>
                </a:lnTo>
                <a:lnTo>
                  <a:pt x="2069597" y="713297"/>
                </a:lnTo>
                <a:lnTo>
                  <a:pt x="2070240" y="713739"/>
                </a:lnTo>
                <a:lnTo>
                  <a:pt x="2069497" y="2020997"/>
                </a:lnTo>
                <a:lnTo>
                  <a:pt x="0" y="567044"/>
                </a:lnTo>
                <a:close/>
              </a:path>
            </a:pathLst>
          </a:custGeom>
          <a:gradFill>
            <a:gsLst>
              <a:gs pos="21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13116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2BB801F-CEBA-4CDD-B9F0-EBA65001B1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1013A4B-2C3A-4DE4-AACD-0C2F7C1BFAF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5775" y="10160"/>
            <a:ext cx="12219085" cy="6858000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1875275 w 8131604"/>
              <a:gd name="connsiteY4" fmla="*/ 0 h 6877896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0 h 6877896"/>
              <a:gd name="connsiteX1" fmla="*/ 8537299 w 8537299"/>
              <a:gd name="connsiteY1" fmla="*/ 4343205 h 6877896"/>
              <a:gd name="connsiteX2" fmla="*/ 8534755 w 8537299"/>
              <a:gd name="connsiteY2" fmla="*/ 6877896 h 6877896"/>
              <a:gd name="connsiteX3" fmla="*/ 405695 w 8537299"/>
              <a:gd name="connsiteY3" fmla="*/ 6877896 h 6877896"/>
              <a:gd name="connsiteX4" fmla="*/ 1332935 w 8537299"/>
              <a:gd name="connsiteY4" fmla="*/ 3441969 h 6877896"/>
              <a:gd name="connsiteX5" fmla="*/ 2280970 w 8537299"/>
              <a:gd name="connsiteY5" fmla="*/ 0 h 6877896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927240 w 8131604"/>
              <a:gd name="connsiteY4" fmla="*/ 3441969 h 6877896"/>
              <a:gd name="connsiteX5" fmla="*/ 1875275 w 8131604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0 w 10044545"/>
              <a:gd name="connsiteY4" fmla="*/ 19896 h 6877896"/>
              <a:gd name="connsiteX5" fmla="*/ 3788216 w 10044545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526473 w 10044545"/>
              <a:gd name="connsiteY4" fmla="*/ 1945678 h 6877896"/>
              <a:gd name="connsiteX5" fmla="*/ 0 w 10044545"/>
              <a:gd name="connsiteY5" fmla="*/ 19896 h 6877896"/>
              <a:gd name="connsiteX6" fmla="*/ 3788216 w 10044545"/>
              <a:gd name="connsiteY6" fmla="*/ 0 h 6877896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2687782 w 12205854"/>
              <a:gd name="connsiteY4" fmla="*/ 1945678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13855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43896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96234 h 6987984"/>
              <a:gd name="connsiteX1" fmla="*/ 12205854 w 12217165"/>
              <a:gd name="connsiteY1" fmla="*/ 4439439 h 6987984"/>
              <a:gd name="connsiteX2" fmla="*/ 12217165 w 12217165"/>
              <a:gd name="connsiteY2" fmla="*/ 6987984 h 6987984"/>
              <a:gd name="connsiteX3" fmla="*/ 4074250 w 12217165"/>
              <a:gd name="connsiteY3" fmla="*/ 6974130 h 6987984"/>
              <a:gd name="connsiteX4" fmla="*/ 13855 w 12217165"/>
              <a:gd name="connsiteY4" fmla="*/ 6946421 h 6987984"/>
              <a:gd name="connsiteX5" fmla="*/ 0 w 12217165"/>
              <a:gd name="connsiteY5" fmla="*/ 1612421 h 6987984"/>
              <a:gd name="connsiteX6" fmla="*/ 2161309 w 12217165"/>
              <a:gd name="connsiteY6" fmla="*/ 116130 h 6987984"/>
              <a:gd name="connsiteX7" fmla="*/ 5949525 w 12217165"/>
              <a:gd name="connsiteY7" fmla="*/ 96234 h 6987984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49724 w 12217364"/>
              <a:gd name="connsiteY0" fmla="*/ 0 h 6891750"/>
              <a:gd name="connsiteX1" fmla="*/ 12206053 w 12217364"/>
              <a:gd name="connsiteY1" fmla="*/ 4343205 h 6891750"/>
              <a:gd name="connsiteX2" fmla="*/ 12217364 w 12217364"/>
              <a:gd name="connsiteY2" fmla="*/ 6891750 h 6891750"/>
              <a:gd name="connsiteX3" fmla="*/ 4074449 w 12217364"/>
              <a:gd name="connsiteY3" fmla="*/ 6877896 h 6891750"/>
              <a:gd name="connsiteX4" fmla="*/ 14054 w 12217364"/>
              <a:gd name="connsiteY4" fmla="*/ 6850187 h 6891750"/>
              <a:gd name="connsiteX5" fmla="*/ 199 w 12217364"/>
              <a:gd name="connsiteY5" fmla="*/ 1516187 h 6891750"/>
              <a:gd name="connsiteX6" fmla="*/ 22741 w 12217364"/>
              <a:gd name="connsiteY6" fmla="*/ 19896 h 6891750"/>
              <a:gd name="connsiteX7" fmla="*/ 5949724 w 12217364"/>
              <a:gd name="connsiteY7" fmla="*/ 0 h 6891750"/>
              <a:gd name="connsiteX0" fmla="*/ 5949936 w 12217576"/>
              <a:gd name="connsiteY0" fmla="*/ 0 h 6891750"/>
              <a:gd name="connsiteX1" fmla="*/ 12206265 w 12217576"/>
              <a:gd name="connsiteY1" fmla="*/ 4343205 h 6891750"/>
              <a:gd name="connsiteX2" fmla="*/ 12217576 w 12217576"/>
              <a:gd name="connsiteY2" fmla="*/ 6891750 h 6891750"/>
              <a:gd name="connsiteX3" fmla="*/ 4074661 w 12217576"/>
              <a:gd name="connsiteY3" fmla="*/ 6877896 h 6891750"/>
              <a:gd name="connsiteX4" fmla="*/ 14266 w 12217576"/>
              <a:gd name="connsiteY4" fmla="*/ 6850187 h 6891750"/>
              <a:gd name="connsiteX5" fmla="*/ 411 w 12217576"/>
              <a:gd name="connsiteY5" fmla="*/ 1516187 h 6891750"/>
              <a:gd name="connsiteX6" fmla="*/ 7455 w 12217576"/>
              <a:gd name="connsiteY6" fmla="*/ 19896 h 6891750"/>
              <a:gd name="connsiteX7" fmla="*/ 5949936 w 12217576"/>
              <a:gd name="connsiteY7" fmla="*/ 0 h 6891750"/>
              <a:gd name="connsiteX0" fmla="*/ 5951445 w 12219085"/>
              <a:gd name="connsiteY0" fmla="*/ 0 h 6891750"/>
              <a:gd name="connsiteX1" fmla="*/ 12207774 w 12219085"/>
              <a:gd name="connsiteY1" fmla="*/ 4343205 h 6891750"/>
              <a:gd name="connsiteX2" fmla="*/ 12219085 w 12219085"/>
              <a:gd name="connsiteY2" fmla="*/ 6891750 h 6891750"/>
              <a:gd name="connsiteX3" fmla="*/ 4076170 w 12219085"/>
              <a:gd name="connsiteY3" fmla="*/ 6877896 h 6891750"/>
              <a:gd name="connsiteX4" fmla="*/ 1261 w 12219085"/>
              <a:gd name="connsiteY4" fmla="*/ 6879216 h 6891750"/>
              <a:gd name="connsiteX5" fmla="*/ 1920 w 12219085"/>
              <a:gd name="connsiteY5" fmla="*/ 1516187 h 6891750"/>
              <a:gd name="connsiteX6" fmla="*/ 8964 w 12219085"/>
              <a:gd name="connsiteY6" fmla="*/ 19896 h 6891750"/>
              <a:gd name="connsiteX7" fmla="*/ 5951445 w 12219085"/>
              <a:gd name="connsiteY7" fmla="*/ 0 h 689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9085" h="6891750">
                <a:moveTo>
                  <a:pt x="5951445" y="0"/>
                </a:moveTo>
                <a:lnTo>
                  <a:pt x="12207774" y="4343205"/>
                </a:lnTo>
                <a:cubicBezTo>
                  <a:pt x="12211544" y="5192720"/>
                  <a:pt x="12215315" y="6042235"/>
                  <a:pt x="12219085" y="6891750"/>
                </a:cubicBezTo>
                <a:lnTo>
                  <a:pt x="4076170" y="6877896"/>
                </a:lnTo>
                <a:lnTo>
                  <a:pt x="1261" y="6879216"/>
                </a:lnTo>
                <a:cubicBezTo>
                  <a:pt x="-3357" y="5110452"/>
                  <a:pt x="6538" y="3284951"/>
                  <a:pt x="1920" y="1516187"/>
                </a:cubicBezTo>
                <a:cubicBezTo>
                  <a:pt x="-898" y="1001925"/>
                  <a:pt x="11782" y="518660"/>
                  <a:pt x="8964" y="19896"/>
                </a:cubicBezTo>
                <a:lnTo>
                  <a:pt x="5951445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DFDCD53E-B970-474F-A296-7F5D3D3670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2596681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F4D0EB71-A2B4-47F8-A43C-B44A52DA54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E96BF9C-3A9B-4F3E-9F61-1D941B653E9B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CD4190-9BC7-4476-AF83-E6D1A2BFB31D}"/>
              </a:ext>
            </a:extLst>
          </p:cNvPr>
          <p:cNvSpPr/>
          <p:nvPr userDrawn="1"/>
        </p:nvSpPr>
        <p:spPr>
          <a:xfrm rot="4191016">
            <a:off x="560557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84BD3FC-E6DB-474F-B265-92A120F91168}"/>
              </a:ext>
            </a:extLst>
          </p:cNvPr>
          <p:cNvSpPr/>
          <p:nvPr userDrawn="1"/>
        </p:nvSpPr>
        <p:spPr>
          <a:xfrm flipH="1">
            <a:off x="9184940" y="2369821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532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3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95AB1DB6-D127-4F7D-B30A-D354F9CD8F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9" name="Right Triangle 8">
            <a:extLst>
              <a:ext uri="{FF2B5EF4-FFF2-40B4-BE49-F238E27FC236}">
                <a16:creationId xmlns:a16="http://schemas.microsoft.com/office/drawing/2014/main" id="{5F0F5E84-3D08-463C-A2F4-3F622F79D6AE}"/>
              </a:ext>
            </a:extLst>
          </p:cNvPr>
          <p:cNvSpPr/>
          <p:nvPr userDrawn="1"/>
        </p:nvSpPr>
        <p:spPr>
          <a:xfrm rot="16200000">
            <a:off x="9386887" y="4069666"/>
            <a:ext cx="2805111" cy="280511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6635DDF-EA99-074A-B8AA-6DB89B54130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88272" y="1212712"/>
            <a:ext cx="8103729" cy="5645288"/>
          </a:xfrm>
          <a:custGeom>
            <a:avLst/>
            <a:gdLst>
              <a:gd name="connsiteX0" fmla="*/ 8103729 w 8103729"/>
              <a:gd name="connsiteY0" fmla="*/ 0 h 5645288"/>
              <a:gd name="connsiteX1" fmla="*/ 8103729 w 8103729"/>
              <a:gd name="connsiteY1" fmla="*/ 4023746 h 5645288"/>
              <a:gd name="connsiteX2" fmla="*/ 5764894 w 8103729"/>
              <a:gd name="connsiteY2" fmla="*/ 5645288 h 5645288"/>
              <a:gd name="connsiteX3" fmla="*/ 0 w 8103729"/>
              <a:gd name="connsiteY3" fmla="*/ 5645288 h 5645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03729" h="5645288">
                <a:moveTo>
                  <a:pt x="8103729" y="0"/>
                </a:moveTo>
                <a:lnTo>
                  <a:pt x="8103729" y="4023746"/>
                </a:lnTo>
                <a:lnTo>
                  <a:pt x="5764894" y="5645288"/>
                </a:lnTo>
                <a:lnTo>
                  <a:pt x="0" y="5645288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8871D4E-8962-41E4-B7BC-D6881361F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3AB3759-2ABA-419B-8B4A-9D837809ED6D}"/>
              </a:ext>
            </a:extLst>
          </p:cNvPr>
          <p:cNvCxnSpPr/>
          <p:nvPr userDrawn="1"/>
        </p:nvCxnSpPr>
        <p:spPr>
          <a:xfrm>
            <a:off x="442800" y="3214819"/>
            <a:ext cx="4932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34">
            <a:extLst>
              <a:ext uri="{FF2B5EF4-FFF2-40B4-BE49-F238E27FC236}">
                <a16:creationId xmlns:a16="http://schemas.microsoft.com/office/drawing/2014/main" id="{60D24665-7834-4CC0-8EA5-C724896E98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442800" y="3565604"/>
            <a:ext cx="2810216" cy="1168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2A88DD9-1E9D-4979-91FB-355894EC6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D8CA00-0351-4439-80FC-0A747C09242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15" name="Freeform: Shape 38">
            <a:extLst>
              <a:ext uri="{FF2B5EF4-FFF2-40B4-BE49-F238E27FC236}">
                <a16:creationId xmlns:a16="http://schemas.microsoft.com/office/drawing/2014/main" id="{D7F1981D-B15C-4509-BD6A-04D49D3FAFB5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20">
            <a:extLst>
              <a:ext uri="{FF2B5EF4-FFF2-40B4-BE49-F238E27FC236}">
                <a16:creationId xmlns:a16="http://schemas.microsoft.com/office/drawing/2014/main" id="{3F6CD97A-AEFF-4042-B3F6-70888095713D}"/>
              </a:ext>
            </a:extLst>
          </p:cNvPr>
          <p:cNvSpPr/>
          <p:nvPr userDrawn="1"/>
        </p:nvSpPr>
        <p:spPr>
          <a:xfrm flipH="1">
            <a:off x="8774596" y="4407877"/>
            <a:ext cx="3417404" cy="2450123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119338 w 4913588"/>
              <a:gd name="connsiteY3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2404721 w 4913588"/>
              <a:gd name="connsiteY3" fmla="*/ 2201134 h 2209800"/>
              <a:gd name="connsiteX4" fmla="*/ 119338 w 4913588"/>
              <a:gd name="connsiteY4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2404721 w 4913588"/>
              <a:gd name="connsiteY3" fmla="*/ 2201134 h 2209800"/>
              <a:gd name="connsiteX4" fmla="*/ 2404721 w 4913588"/>
              <a:gd name="connsiteY4" fmla="*/ 2201134 h 2209800"/>
              <a:gd name="connsiteX5" fmla="*/ 119338 w 4913588"/>
              <a:gd name="connsiteY5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4913588 w 4913588"/>
              <a:gd name="connsiteY3" fmla="*/ 2209800 h 2209800"/>
              <a:gd name="connsiteX4" fmla="*/ 2404721 w 4913588"/>
              <a:gd name="connsiteY4" fmla="*/ 2201134 h 2209800"/>
              <a:gd name="connsiteX5" fmla="*/ 2404721 w 4913588"/>
              <a:gd name="connsiteY5" fmla="*/ 2201134 h 2209800"/>
              <a:gd name="connsiteX6" fmla="*/ 119338 w 4913588"/>
              <a:gd name="connsiteY6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4913588 w 4913588"/>
              <a:gd name="connsiteY3" fmla="*/ 2209800 h 2209800"/>
              <a:gd name="connsiteX4" fmla="*/ 2404721 w 4913588"/>
              <a:gd name="connsiteY4" fmla="*/ 2201134 h 2209800"/>
              <a:gd name="connsiteX5" fmla="*/ 2404721 w 4913588"/>
              <a:gd name="connsiteY5" fmla="*/ 2201134 h 2209800"/>
              <a:gd name="connsiteX6" fmla="*/ 119338 w 4913588"/>
              <a:gd name="connsiteY6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2404721 w 4913588"/>
              <a:gd name="connsiteY3" fmla="*/ 398631 h 2209800"/>
              <a:gd name="connsiteX4" fmla="*/ 4913588 w 4913588"/>
              <a:gd name="connsiteY4" fmla="*/ 2209800 h 2209800"/>
              <a:gd name="connsiteX5" fmla="*/ 2404721 w 4913588"/>
              <a:gd name="connsiteY5" fmla="*/ 2201134 h 2209800"/>
              <a:gd name="connsiteX6" fmla="*/ 2404721 w 4913588"/>
              <a:gd name="connsiteY6" fmla="*/ 2201134 h 2209800"/>
              <a:gd name="connsiteX7" fmla="*/ 119338 w 4913588"/>
              <a:gd name="connsiteY7" fmla="*/ 2209800 h 2209800"/>
              <a:gd name="connsiteX0" fmla="*/ 4 w 4794254"/>
              <a:gd name="connsiteY0" fmla="*/ 1811169 h 1811169"/>
              <a:gd name="connsiteX1" fmla="*/ 2268056 w 4794254"/>
              <a:gd name="connsiteY1" fmla="*/ 0 h 1811169"/>
              <a:gd name="connsiteX2" fmla="*/ 2285387 w 4794254"/>
              <a:gd name="connsiteY2" fmla="*/ 0 h 1811169"/>
              <a:gd name="connsiteX3" fmla="*/ 4794254 w 4794254"/>
              <a:gd name="connsiteY3" fmla="*/ 1811169 h 1811169"/>
              <a:gd name="connsiteX4" fmla="*/ 2285387 w 4794254"/>
              <a:gd name="connsiteY4" fmla="*/ 1802503 h 1811169"/>
              <a:gd name="connsiteX5" fmla="*/ 2285387 w 4794254"/>
              <a:gd name="connsiteY5" fmla="*/ 1802503 h 1811169"/>
              <a:gd name="connsiteX6" fmla="*/ 4 w 4794254"/>
              <a:gd name="connsiteY6" fmla="*/ 1811169 h 1811169"/>
              <a:gd name="connsiteX0" fmla="*/ 17331 w 2526198"/>
              <a:gd name="connsiteY0" fmla="*/ 1802503 h 1811169"/>
              <a:gd name="connsiteX1" fmla="*/ 0 w 2526198"/>
              <a:gd name="connsiteY1" fmla="*/ 0 h 1811169"/>
              <a:gd name="connsiteX2" fmla="*/ 17331 w 2526198"/>
              <a:gd name="connsiteY2" fmla="*/ 0 h 1811169"/>
              <a:gd name="connsiteX3" fmla="*/ 2526198 w 2526198"/>
              <a:gd name="connsiteY3" fmla="*/ 1811169 h 1811169"/>
              <a:gd name="connsiteX4" fmla="*/ 17331 w 2526198"/>
              <a:gd name="connsiteY4" fmla="*/ 1802503 h 1811169"/>
              <a:gd name="connsiteX5" fmla="*/ 17331 w 2526198"/>
              <a:gd name="connsiteY5" fmla="*/ 1802503 h 181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6198" h="1811169">
                <a:moveTo>
                  <a:pt x="17331" y="1802503"/>
                </a:moveTo>
                <a:lnTo>
                  <a:pt x="0" y="0"/>
                </a:lnTo>
                <a:lnTo>
                  <a:pt x="17331" y="0"/>
                </a:lnTo>
                <a:lnTo>
                  <a:pt x="2526198" y="1811169"/>
                </a:lnTo>
                <a:lnTo>
                  <a:pt x="17331" y="1802503"/>
                </a:lnTo>
                <a:lnTo>
                  <a:pt x="17331" y="1802503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2604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4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95938D1-A43B-478A-AAD9-7A27465603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197EE4D-06D9-6D48-B606-48101EB68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14990" y="0"/>
            <a:ext cx="5724910" cy="6858000"/>
          </a:xfrm>
          <a:custGeom>
            <a:avLst/>
            <a:gdLst>
              <a:gd name="connsiteX0" fmla="*/ 3899193 w 5724910"/>
              <a:gd name="connsiteY0" fmla="*/ 0 h 6858000"/>
              <a:gd name="connsiteX1" fmla="*/ 5724910 w 5724910"/>
              <a:gd name="connsiteY1" fmla="*/ 0 h 6858000"/>
              <a:gd name="connsiteX2" fmla="*/ 5724910 w 5724910"/>
              <a:gd name="connsiteY2" fmla="*/ 4117441 h 6858000"/>
              <a:gd name="connsiteX3" fmla="*/ 1757271 w 5724910"/>
              <a:gd name="connsiteY3" fmla="*/ 6858000 h 6858000"/>
              <a:gd name="connsiteX4" fmla="*/ 0 w 5724910"/>
              <a:gd name="connsiteY4" fmla="*/ 6854510 h 6858000"/>
              <a:gd name="connsiteX5" fmla="*/ 10128 w 5724910"/>
              <a:gd name="connsiteY5" fmla="*/ 270433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24910" h="6858000">
                <a:moveTo>
                  <a:pt x="3899193" y="0"/>
                </a:moveTo>
                <a:lnTo>
                  <a:pt x="5724910" y="0"/>
                </a:lnTo>
                <a:lnTo>
                  <a:pt x="5724910" y="4117441"/>
                </a:lnTo>
                <a:lnTo>
                  <a:pt x="1757271" y="6858000"/>
                </a:lnTo>
                <a:lnTo>
                  <a:pt x="0" y="6854510"/>
                </a:lnTo>
                <a:lnTo>
                  <a:pt x="10128" y="270433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90C636B-5A5D-4399-980F-44E3735BC7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2415" y="2040219"/>
            <a:ext cx="4004632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600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hank you</a:t>
            </a:r>
            <a:endParaRPr lang="en-GB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218638D0-EA79-4658-BBAF-F7CBC3D7A6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42416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8" name="Freeform: Shape 38">
            <a:extLst>
              <a:ext uri="{FF2B5EF4-FFF2-40B4-BE49-F238E27FC236}">
                <a16:creationId xmlns:a16="http://schemas.microsoft.com/office/drawing/2014/main" id="{88DD9336-317D-4740-9853-D4062BAB0838}"/>
              </a:ext>
            </a:extLst>
          </p:cNvPr>
          <p:cNvSpPr/>
          <p:nvPr userDrawn="1"/>
        </p:nvSpPr>
        <p:spPr>
          <a:xfrm>
            <a:off x="1173742" y="4827938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Freeform: Shape 38">
            <a:extLst>
              <a:ext uri="{FF2B5EF4-FFF2-40B4-BE49-F238E27FC236}">
                <a16:creationId xmlns:a16="http://schemas.microsoft.com/office/drawing/2014/main" id="{98B81505-8EBE-43E4-B7C6-0E608556BE6D}"/>
              </a:ext>
            </a:extLst>
          </p:cNvPr>
          <p:cNvSpPr/>
          <p:nvPr userDrawn="1"/>
        </p:nvSpPr>
        <p:spPr>
          <a:xfrm rot="10800000">
            <a:off x="137450" y="1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0"/>
                </a:schemeClr>
              </a:gs>
              <a:gs pos="74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05129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6" y="0"/>
            <a:ext cx="12188948" cy="6872512"/>
          </a:xfrm>
          <a:prstGeom prst="rect">
            <a:avLst/>
          </a:prstGeom>
        </p:spPr>
      </p:pic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© 2022 Copyright Genpact. All Rights Reserved.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4375" y="6446360"/>
            <a:ext cx="868156" cy="340728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4594" y="2473184"/>
            <a:ext cx="6397625" cy="1600200"/>
          </a:xfrm>
          <a:prstGeom prst="rect">
            <a:avLst/>
          </a:prstGeom>
        </p:spPr>
        <p:txBody>
          <a:bodyPr lIns="0" anchor="ctr"/>
          <a:lstStyle>
            <a:lvl1pPr>
              <a:defRPr sz="48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 sz="4800">
                <a:solidFill>
                  <a:schemeClr val="bg1"/>
                </a:solidFill>
              </a:defRPr>
            </a:lvl3pPr>
            <a:lvl4pPr>
              <a:defRPr sz="4800">
                <a:solidFill>
                  <a:schemeClr val="bg1"/>
                </a:solidFill>
              </a:defRPr>
            </a:lvl4pPr>
            <a:lvl5pPr>
              <a:defRPr sz="4800">
                <a:solidFill>
                  <a:schemeClr val="bg1"/>
                </a:solidFill>
              </a:defRPr>
            </a:lvl5pPr>
          </a:lstStyle>
          <a:p>
            <a:r>
              <a:rPr lang="en-US" sz="4800">
                <a:solidFill>
                  <a:schemeClr val="bg1"/>
                </a:solidFill>
              </a:rPr>
              <a:t>Divider slide options Lorem ipsum dolor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4593" y="4267200"/>
            <a:ext cx="6397625" cy="381000"/>
          </a:xfrm>
          <a:prstGeom prst="rect">
            <a:avLst/>
          </a:prstGeom>
        </p:spPr>
        <p:txBody>
          <a:bodyPr lIns="0" anchor="ctr"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Subtitle, if needed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0770454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22_Divi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3627052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519455F8-E443-2E47-84AE-B5E3AB72DCED}"/>
              </a:ext>
            </a:extLst>
          </p:cNvPr>
          <p:cNvSpPr/>
          <p:nvPr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7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5C50561-D087-47A2-8E0E-B095F51A359E}"/>
              </a:ext>
            </a:extLst>
          </p:cNvPr>
          <p:cNvSpPr/>
          <p:nvPr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3"/>
              </a:gs>
              <a:gs pos="92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41CDB2D-7FA5-4BA7-AEA0-FE2551E49C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260570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3</a:t>
            </a:r>
            <a:endParaRPr lang="en-GB"/>
          </a:p>
        </p:txBody>
      </p:sp>
      <p:sp>
        <p:nvSpPr>
          <p:cNvPr id="23" name="Freeform 18">
            <a:extLst>
              <a:ext uri="{FF2B5EF4-FFF2-40B4-BE49-F238E27FC236}">
                <a16:creationId xmlns:a16="http://schemas.microsoft.com/office/drawing/2014/main" id="{6F10E259-8957-4A25-A1FE-6233728BBD6A}"/>
              </a:ext>
            </a:extLst>
          </p:cNvPr>
          <p:cNvSpPr/>
          <p:nvPr userDrawn="1"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927166BE-C525-4B89-9317-E7513C3FD974}"/>
              </a:ext>
            </a:extLst>
          </p:cNvPr>
          <p:cNvSpPr/>
          <p:nvPr userDrawn="1"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6E0280A-C911-477A-9CA7-94686E8EAF5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51B5DFE-8647-49A7-BA9A-2D61704E1D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2071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22_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199" y="3281163"/>
            <a:ext cx="6397626" cy="1218593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98" y="1233488"/>
            <a:ext cx="6443999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3385E9-575A-4E97-BE38-0A19A73B40A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18DAEFC-EF40-4589-9F6B-5C1699274A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00000"/>
            <a:ext cx="6443998" cy="99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12" name="Freeform: Shape 38">
            <a:extLst>
              <a:ext uri="{FF2B5EF4-FFF2-40B4-BE49-F238E27FC236}">
                <a16:creationId xmlns:a16="http://schemas.microsoft.com/office/drawing/2014/main" id="{BF4677C3-BCF5-4855-9611-E85C96D9A70A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2D55CCF4-0B1D-4A3B-AD75-0E7051248497}"/>
              </a:ext>
            </a:extLst>
          </p:cNvPr>
          <p:cNvSpPr/>
          <p:nvPr userDrawn="1"/>
        </p:nvSpPr>
        <p:spPr>
          <a:xfrm>
            <a:off x="10121759" y="2893156"/>
            <a:ext cx="2070240" cy="2020997"/>
          </a:xfrm>
          <a:custGeom>
            <a:avLst/>
            <a:gdLst>
              <a:gd name="connsiteX0" fmla="*/ 803684 w 2070240"/>
              <a:gd name="connsiteY0" fmla="*/ 0 h 2020997"/>
              <a:gd name="connsiteX1" fmla="*/ 2069497 w 2070240"/>
              <a:gd name="connsiteY1" fmla="*/ 889314 h 2020997"/>
              <a:gd name="connsiteX2" fmla="*/ 2069597 w 2070240"/>
              <a:gd name="connsiteY2" fmla="*/ 713297 h 2020997"/>
              <a:gd name="connsiteX3" fmla="*/ 2070240 w 2070240"/>
              <a:gd name="connsiteY3" fmla="*/ 713739 h 2020997"/>
              <a:gd name="connsiteX4" fmla="*/ 2069497 w 2070240"/>
              <a:gd name="connsiteY4" fmla="*/ 2020997 h 2020997"/>
              <a:gd name="connsiteX5" fmla="*/ 0 w 2070240"/>
              <a:gd name="connsiteY5" fmla="*/ 567044 h 202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0240" h="2020997">
                <a:moveTo>
                  <a:pt x="803684" y="0"/>
                </a:moveTo>
                <a:lnTo>
                  <a:pt x="2069497" y="889314"/>
                </a:lnTo>
                <a:lnTo>
                  <a:pt x="2069597" y="713297"/>
                </a:lnTo>
                <a:lnTo>
                  <a:pt x="2070240" y="713739"/>
                </a:lnTo>
                <a:lnTo>
                  <a:pt x="2069497" y="2020997"/>
                </a:lnTo>
                <a:lnTo>
                  <a:pt x="0" y="567044"/>
                </a:lnTo>
                <a:close/>
              </a:path>
            </a:pathLst>
          </a:custGeom>
          <a:gradFill>
            <a:gsLst>
              <a:gs pos="21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1011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22_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4434872"/>
            <a:ext cx="6397626" cy="121859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800" y="2335488"/>
            <a:ext cx="6443999" cy="381000"/>
          </a:xfrm>
          <a:prstGeom prst="rect">
            <a:avLst/>
          </a:prstGeom>
        </p:spPr>
        <p:txBody>
          <a:bodyPr lIns="0" tIns="0" rIns="360000" b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5C7979F-B5FA-491A-9674-811E416D3A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999782"/>
            <a:ext cx="6454310" cy="990000"/>
          </a:xfrm>
        </p:spPr>
        <p:txBody>
          <a:bodyPr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the deck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D4976B8-BC22-4FB2-BECC-2F92BC01DC7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800" y="6480000"/>
            <a:ext cx="2396518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ea typeface="Cambria" panose="02040503050406030204" pitchFamily="18" charset="0"/>
              <a:cs typeface="Calibri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AA631FB-D42E-4C3F-8885-696AF4E9B4B2}"/>
              </a:ext>
            </a:extLst>
          </p:cNvPr>
          <p:cNvSpPr/>
          <p:nvPr userDrawn="1"/>
        </p:nvSpPr>
        <p:spPr>
          <a:xfrm rot="4191016">
            <a:off x="5605571" y="-512551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2B9A1AF-97F2-4951-AD29-661ACC6A1482}"/>
              </a:ext>
            </a:extLst>
          </p:cNvPr>
          <p:cNvSpPr/>
          <p:nvPr userDrawn="1"/>
        </p:nvSpPr>
        <p:spPr>
          <a:xfrm flipH="1">
            <a:off x="9184940" y="2369821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BD8DDAA6-AFDC-48A0-BB6B-AC0E7FCC76A9}"/>
              </a:ext>
            </a:extLst>
          </p:cNvPr>
          <p:cNvSpPr/>
          <p:nvPr userDrawn="1"/>
        </p:nvSpPr>
        <p:spPr>
          <a:xfrm rot="17408984" flipH="1">
            <a:off x="-256184" y="-289497"/>
            <a:ext cx="2647720" cy="2280654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8884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8884" y="724009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1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963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23.xml"/><Relationship Id="rId21" Type="http://schemas.openxmlformats.org/officeDocument/2006/relationships/slideLayout" Target="../slideLayouts/slideLayout118.xml"/><Relationship Id="rId42" Type="http://schemas.openxmlformats.org/officeDocument/2006/relationships/slideLayout" Target="../slideLayouts/slideLayout139.xml"/><Relationship Id="rId47" Type="http://schemas.openxmlformats.org/officeDocument/2006/relationships/slideLayout" Target="../slideLayouts/slideLayout144.xml"/><Relationship Id="rId63" Type="http://schemas.openxmlformats.org/officeDocument/2006/relationships/slideLayout" Target="../slideLayouts/slideLayout160.xml"/><Relationship Id="rId68" Type="http://schemas.openxmlformats.org/officeDocument/2006/relationships/slideLayout" Target="../slideLayouts/slideLayout165.xml"/><Relationship Id="rId84" Type="http://schemas.openxmlformats.org/officeDocument/2006/relationships/slideLayout" Target="../slideLayouts/slideLayout181.xml"/><Relationship Id="rId89" Type="http://schemas.openxmlformats.org/officeDocument/2006/relationships/slideLayout" Target="../slideLayouts/slideLayout186.xml"/><Relationship Id="rId1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08.xml"/><Relationship Id="rId32" Type="http://schemas.openxmlformats.org/officeDocument/2006/relationships/slideLayout" Target="../slideLayouts/slideLayout129.xml"/><Relationship Id="rId37" Type="http://schemas.openxmlformats.org/officeDocument/2006/relationships/slideLayout" Target="../slideLayouts/slideLayout134.xml"/><Relationship Id="rId53" Type="http://schemas.openxmlformats.org/officeDocument/2006/relationships/slideLayout" Target="../slideLayouts/slideLayout150.xml"/><Relationship Id="rId58" Type="http://schemas.openxmlformats.org/officeDocument/2006/relationships/slideLayout" Target="../slideLayouts/slideLayout155.xml"/><Relationship Id="rId74" Type="http://schemas.openxmlformats.org/officeDocument/2006/relationships/slideLayout" Target="../slideLayouts/slideLayout171.xml"/><Relationship Id="rId79" Type="http://schemas.openxmlformats.org/officeDocument/2006/relationships/slideLayout" Target="../slideLayouts/slideLayout176.xml"/><Relationship Id="rId102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02.xml"/><Relationship Id="rId90" Type="http://schemas.openxmlformats.org/officeDocument/2006/relationships/slideLayout" Target="../slideLayouts/slideLayout187.xml"/><Relationship Id="rId95" Type="http://schemas.openxmlformats.org/officeDocument/2006/relationships/slideLayout" Target="../slideLayouts/slideLayout192.xml"/><Relationship Id="rId22" Type="http://schemas.openxmlformats.org/officeDocument/2006/relationships/slideLayout" Target="../slideLayouts/slideLayout119.xml"/><Relationship Id="rId27" Type="http://schemas.openxmlformats.org/officeDocument/2006/relationships/slideLayout" Target="../slideLayouts/slideLayout124.xml"/><Relationship Id="rId43" Type="http://schemas.openxmlformats.org/officeDocument/2006/relationships/slideLayout" Target="../slideLayouts/slideLayout140.xml"/><Relationship Id="rId48" Type="http://schemas.openxmlformats.org/officeDocument/2006/relationships/slideLayout" Target="../slideLayouts/slideLayout145.xml"/><Relationship Id="rId64" Type="http://schemas.openxmlformats.org/officeDocument/2006/relationships/slideLayout" Target="../slideLayouts/slideLayout161.xml"/><Relationship Id="rId69" Type="http://schemas.openxmlformats.org/officeDocument/2006/relationships/slideLayout" Target="../slideLayouts/slideLayout166.xml"/><Relationship Id="rId80" Type="http://schemas.openxmlformats.org/officeDocument/2006/relationships/slideLayout" Target="../slideLayouts/slideLayout177.xml"/><Relationship Id="rId85" Type="http://schemas.openxmlformats.org/officeDocument/2006/relationships/slideLayout" Target="../slideLayouts/slideLayout182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33" Type="http://schemas.openxmlformats.org/officeDocument/2006/relationships/slideLayout" Target="../slideLayouts/slideLayout130.xml"/><Relationship Id="rId38" Type="http://schemas.openxmlformats.org/officeDocument/2006/relationships/slideLayout" Target="../slideLayouts/slideLayout135.xml"/><Relationship Id="rId59" Type="http://schemas.openxmlformats.org/officeDocument/2006/relationships/slideLayout" Target="../slideLayouts/slideLayout156.xml"/><Relationship Id="rId103" Type="http://schemas.openxmlformats.org/officeDocument/2006/relationships/slideLayout" Target="../slideLayouts/slideLayout200.xml"/><Relationship Id="rId20" Type="http://schemas.openxmlformats.org/officeDocument/2006/relationships/slideLayout" Target="../slideLayouts/slideLayout117.xml"/><Relationship Id="rId41" Type="http://schemas.openxmlformats.org/officeDocument/2006/relationships/slideLayout" Target="../slideLayouts/slideLayout138.xml"/><Relationship Id="rId54" Type="http://schemas.openxmlformats.org/officeDocument/2006/relationships/slideLayout" Target="../slideLayouts/slideLayout151.xml"/><Relationship Id="rId62" Type="http://schemas.openxmlformats.org/officeDocument/2006/relationships/slideLayout" Target="../slideLayouts/slideLayout159.xml"/><Relationship Id="rId70" Type="http://schemas.openxmlformats.org/officeDocument/2006/relationships/slideLayout" Target="../slideLayouts/slideLayout167.xml"/><Relationship Id="rId75" Type="http://schemas.openxmlformats.org/officeDocument/2006/relationships/slideLayout" Target="../slideLayouts/slideLayout172.xml"/><Relationship Id="rId83" Type="http://schemas.openxmlformats.org/officeDocument/2006/relationships/slideLayout" Target="../slideLayouts/slideLayout180.xml"/><Relationship Id="rId88" Type="http://schemas.openxmlformats.org/officeDocument/2006/relationships/slideLayout" Target="../slideLayouts/slideLayout185.xml"/><Relationship Id="rId91" Type="http://schemas.openxmlformats.org/officeDocument/2006/relationships/slideLayout" Target="../slideLayouts/slideLayout188.xml"/><Relationship Id="rId96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2.xml"/><Relationship Id="rId23" Type="http://schemas.openxmlformats.org/officeDocument/2006/relationships/slideLayout" Target="../slideLayouts/slideLayout120.xml"/><Relationship Id="rId28" Type="http://schemas.openxmlformats.org/officeDocument/2006/relationships/slideLayout" Target="../slideLayouts/slideLayout125.xml"/><Relationship Id="rId36" Type="http://schemas.openxmlformats.org/officeDocument/2006/relationships/slideLayout" Target="../slideLayouts/slideLayout133.xml"/><Relationship Id="rId49" Type="http://schemas.openxmlformats.org/officeDocument/2006/relationships/slideLayout" Target="../slideLayouts/slideLayout146.xml"/><Relationship Id="rId57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07.xml"/><Relationship Id="rId31" Type="http://schemas.openxmlformats.org/officeDocument/2006/relationships/slideLayout" Target="../slideLayouts/slideLayout128.xml"/><Relationship Id="rId44" Type="http://schemas.openxmlformats.org/officeDocument/2006/relationships/slideLayout" Target="../slideLayouts/slideLayout141.xml"/><Relationship Id="rId52" Type="http://schemas.openxmlformats.org/officeDocument/2006/relationships/slideLayout" Target="../slideLayouts/slideLayout149.xml"/><Relationship Id="rId60" Type="http://schemas.openxmlformats.org/officeDocument/2006/relationships/slideLayout" Target="../slideLayouts/slideLayout157.xml"/><Relationship Id="rId65" Type="http://schemas.openxmlformats.org/officeDocument/2006/relationships/slideLayout" Target="../slideLayouts/slideLayout162.xml"/><Relationship Id="rId73" Type="http://schemas.openxmlformats.org/officeDocument/2006/relationships/slideLayout" Target="../slideLayouts/slideLayout170.xml"/><Relationship Id="rId78" Type="http://schemas.openxmlformats.org/officeDocument/2006/relationships/slideLayout" Target="../slideLayouts/slideLayout175.xml"/><Relationship Id="rId81" Type="http://schemas.openxmlformats.org/officeDocument/2006/relationships/slideLayout" Target="../slideLayouts/slideLayout178.xml"/><Relationship Id="rId86" Type="http://schemas.openxmlformats.org/officeDocument/2006/relationships/slideLayout" Target="../slideLayouts/slideLayout183.xml"/><Relationship Id="rId94" Type="http://schemas.openxmlformats.org/officeDocument/2006/relationships/slideLayout" Target="../slideLayouts/slideLayout191.xml"/><Relationship Id="rId99" Type="http://schemas.openxmlformats.org/officeDocument/2006/relationships/slideLayout" Target="../slideLayouts/slideLayout196.xml"/><Relationship Id="rId101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39" Type="http://schemas.openxmlformats.org/officeDocument/2006/relationships/slideLayout" Target="../slideLayouts/slideLayout136.xml"/><Relationship Id="rId34" Type="http://schemas.openxmlformats.org/officeDocument/2006/relationships/slideLayout" Target="../slideLayouts/slideLayout131.xml"/><Relationship Id="rId50" Type="http://schemas.openxmlformats.org/officeDocument/2006/relationships/slideLayout" Target="../slideLayouts/slideLayout147.xml"/><Relationship Id="rId55" Type="http://schemas.openxmlformats.org/officeDocument/2006/relationships/slideLayout" Target="../slideLayouts/slideLayout152.xml"/><Relationship Id="rId76" Type="http://schemas.openxmlformats.org/officeDocument/2006/relationships/slideLayout" Target="../slideLayouts/slideLayout173.xml"/><Relationship Id="rId97" Type="http://schemas.openxmlformats.org/officeDocument/2006/relationships/slideLayout" Target="../slideLayouts/slideLayout194.xml"/><Relationship Id="rId104" Type="http://schemas.openxmlformats.org/officeDocument/2006/relationships/theme" Target="../theme/theme2.xml"/><Relationship Id="rId7" Type="http://schemas.openxmlformats.org/officeDocument/2006/relationships/slideLayout" Target="../slideLayouts/slideLayout104.xml"/><Relationship Id="rId71" Type="http://schemas.openxmlformats.org/officeDocument/2006/relationships/slideLayout" Target="../slideLayouts/slideLayout168.xml"/><Relationship Id="rId92" Type="http://schemas.openxmlformats.org/officeDocument/2006/relationships/slideLayout" Target="../slideLayouts/slideLayout189.xml"/><Relationship Id="rId2" Type="http://schemas.openxmlformats.org/officeDocument/2006/relationships/slideLayout" Target="../slideLayouts/slideLayout99.xml"/><Relationship Id="rId29" Type="http://schemas.openxmlformats.org/officeDocument/2006/relationships/slideLayout" Target="../slideLayouts/slideLayout126.xml"/><Relationship Id="rId24" Type="http://schemas.openxmlformats.org/officeDocument/2006/relationships/slideLayout" Target="../slideLayouts/slideLayout121.xml"/><Relationship Id="rId40" Type="http://schemas.openxmlformats.org/officeDocument/2006/relationships/slideLayout" Target="../slideLayouts/slideLayout137.xml"/><Relationship Id="rId45" Type="http://schemas.openxmlformats.org/officeDocument/2006/relationships/slideLayout" Target="../slideLayouts/slideLayout142.xml"/><Relationship Id="rId66" Type="http://schemas.openxmlformats.org/officeDocument/2006/relationships/slideLayout" Target="../slideLayouts/slideLayout163.xml"/><Relationship Id="rId87" Type="http://schemas.openxmlformats.org/officeDocument/2006/relationships/slideLayout" Target="../slideLayouts/slideLayout184.xml"/><Relationship Id="rId61" Type="http://schemas.openxmlformats.org/officeDocument/2006/relationships/slideLayout" Target="../slideLayouts/slideLayout158.xml"/><Relationship Id="rId82" Type="http://schemas.openxmlformats.org/officeDocument/2006/relationships/slideLayout" Target="../slideLayouts/slideLayout179.xml"/><Relationship Id="rId1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11.xml"/><Relationship Id="rId30" Type="http://schemas.openxmlformats.org/officeDocument/2006/relationships/slideLayout" Target="../slideLayouts/slideLayout127.xml"/><Relationship Id="rId35" Type="http://schemas.openxmlformats.org/officeDocument/2006/relationships/slideLayout" Target="../slideLayouts/slideLayout132.xml"/><Relationship Id="rId56" Type="http://schemas.openxmlformats.org/officeDocument/2006/relationships/slideLayout" Target="../slideLayouts/slideLayout153.xml"/><Relationship Id="rId77" Type="http://schemas.openxmlformats.org/officeDocument/2006/relationships/slideLayout" Target="../slideLayouts/slideLayout174.xml"/><Relationship Id="rId100" Type="http://schemas.openxmlformats.org/officeDocument/2006/relationships/slideLayout" Target="../slideLayouts/slideLayout197.xml"/><Relationship Id="rId105" Type="http://schemas.openxmlformats.org/officeDocument/2006/relationships/tags" Target="../tags/tag40.xml"/><Relationship Id="rId8" Type="http://schemas.openxmlformats.org/officeDocument/2006/relationships/slideLayout" Target="../slideLayouts/slideLayout105.xml"/><Relationship Id="rId51" Type="http://schemas.openxmlformats.org/officeDocument/2006/relationships/slideLayout" Target="../slideLayouts/slideLayout148.xml"/><Relationship Id="rId72" Type="http://schemas.openxmlformats.org/officeDocument/2006/relationships/slideLayout" Target="../slideLayouts/slideLayout169.xml"/><Relationship Id="rId93" Type="http://schemas.openxmlformats.org/officeDocument/2006/relationships/slideLayout" Target="../slideLayouts/slideLayout190.xml"/><Relationship Id="rId98" Type="http://schemas.openxmlformats.org/officeDocument/2006/relationships/slideLayout" Target="../slideLayouts/slideLayout195.xml"/><Relationship Id="rId3" Type="http://schemas.openxmlformats.org/officeDocument/2006/relationships/slideLayout" Target="../slideLayouts/slideLayout100.xml"/><Relationship Id="rId25" Type="http://schemas.openxmlformats.org/officeDocument/2006/relationships/slideLayout" Target="../slideLayouts/slideLayout122.xml"/><Relationship Id="rId46" Type="http://schemas.openxmlformats.org/officeDocument/2006/relationships/slideLayout" Target="../slideLayouts/slideLayout143.xml"/><Relationship Id="rId67" Type="http://schemas.openxmlformats.org/officeDocument/2006/relationships/slideLayout" Target="../slideLayouts/slideLayout16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8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03.xml"/><Relationship Id="rId7" Type="http://schemas.openxmlformats.org/officeDocument/2006/relationships/slideLayout" Target="../slideLayouts/slideLayout207.xml"/><Relationship Id="rId12" Type="http://schemas.openxmlformats.org/officeDocument/2006/relationships/slideLayout" Target="../slideLayouts/slideLayout212.xml"/><Relationship Id="rId2" Type="http://schemas.openxmlformats.org/officeDocument/2006/relationships/slideLayout" Target="../slideLayouts/slideLayout202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1" Type="http://schemas.openxmlformats.org/officeDocument/2006/relationships/slideLayout" Target="../slideLayouts/slideLayout211.xml"/><Relationship Id="rId5" Type="http://schemas.openxmlformats.org/officeDocument/2006/relationships/slideLayout" Target="../slideLayouts/slideLayout205.xml"/><Relationship Id="rId10" Type="http://schemas.openxmlformats.org/officeDocument/2006/relationships/slideLayout" Target="../slideLayouts/slideLayout210.xml"/><Relationship Id="rId4" Type="http://schemas.openxmlformats.org/officeDocument/2006/relationships/slideLayout" Target="../slideLayouts/slideLayout204.xml"/><Relationship Id="rId9" Type="http://schemas.openxmlformats.org/officeDocument/2006/relationships/slideLayout" Target="../slideLayouts/slideLayout20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63962B6-595A-4E12-A0A9-6972DDBE6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001" y="388800"/>
            <a:ext cx="11303999" cy="9900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EB6CFD-A46F-4D8C-9DC4-9F9723DA0E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Classification: Genpact Intern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30104F-10D5-4E69-8AD4-DB626BE7DA1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4D6728C-E3C6-4747-8236-8CE4E25255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4000" y="1799999"/>
            <a:ext cx="11303999" cy="432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empower - DO NOT DELETE!!!" hidden="1">
            <a:extLst>
              <a:ext uri="{FF2B5EF4-FFF2-40B4-BE49-F238E27FC236}">
                <a16:creationId xmlns:a16="http://schemas.microsoft.com/office/drawing/2014/main" id="{F8138B8F-DC43-4331-9714-179CEC0AB132}"/>
              </a:ext>
            </a:extLst>
          </p:cNvPr>
          <p:cNvSpPr/>
          <p:nvPr userDrawn="1">
            <p:custDataLst>
              <p:tags r:id="rId99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833220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  <p:sldLayoutId id="2147483729" r:id="rId69"/>
    <p:sldLayoutId id="2147483730" r:id="rId70"/>
    <p:sldLayoutId id="2147483731" r:id="rId71"/>
    <p:sldLayoutId id="2147483732" r:id="rId72"/>
    <p:sldLayoutId id="2147483733" r:id="rId73"/>
    <p:sldLayoutId id="2147483734" r:id="rId74"/>
    <p:sldLayoutId id="2147483735" r:id="rId75"/>
    <p:sldLayoutId id="2147483736" r:id="rId76"/>
    <p:sldLayoutId id="2147483737" r:id="rId77"/>
    <p:sldLayoutId id="2147483738" r:id="rId78"/>
    <p:sldLayoutId id="2147483739" r:id="rId79"/>
    <p:sldLayoutId id="2147483740" r:id="rId80"/>
    <p:sldLayoutId id="2147483741" r:id="rId81"/>
    <p:sldLayoutId id="2147483742" r:id="rId82"/>
    <p:sldLayoutId id="2147483743" r:id="rId83"/>
    <p:sldLayoutId id="2147483744" r:id="rId84"/>
    <p:sldLayoutId id="2147483745" r:id="rId85"/>
    <p:sldLayoutId id="2147483746" r:id="rId86"/>
    <p:sldLayoutId id="2147483747" r:id="rId87"/>
    <p:sldLayoutId id="2147483748" r:id="rId88"/>
    <p:sldLayoutId id="2147483749" r:id="rId89"/>
    <p:sldLayoutId id="2147483750" r:id="rId90"/>
    <p:sldLayoutId id="2147483751" r:id="rId91"/>
    <p:sldLayoutId id="2147483752" r:id="rId92"/>
    <p:sldLayoutId id="2147483753" r:id="rId93"/>
    <p:sldLayoutId id="2147483754" r:id="rId94"/>
    <p:sldLayoutId id="2147483755" r:id="rId95"/>
    <p:sldLayoutId id="2147483756" r:id="rId96"/>
    <p:sldLayoutId id="2147483757" r:id="rId97"/>
  </p:sldLayoutIdLst>
  <p:hf sldNum="0" hdr="0" dt="0"/>
  <p:txStyles>
    <p:title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1"/>
        </a:buClr>
        <a:buSzPct val="100000"/>
        <a:buFont typeface="Arial" panose="020B0604020202020204" pitchFamily="34" charset="0"/>
        <a:buNone/>
        <a:defRPr lang="en-GB" sz="3200" b="0" kern="1200" dirty="0">
          <a:solidFill>
            <a:schemeClr val="tx2"/>
          </a:solidFill>
          <a:latin typeface="+mj-lt"/>
          <a:ea typeface="Cambria" panose="02040503050406030204" pitchFamily="18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None/>
        <a:defRPr lang="en-US" sz="1400" b="0" kern="1200" dirty="0">
          <a:solidFill>
            <a:schemeClr val="tx2"/>
          </a:solidFill>
          <a:latin typeface="+mn-lt"/>
          <a:ea typeface="Cambria" panose="02040503050406030204" pitchFamily="18" charset="0"/>
          <a:cs typeface="Calibri" panose="020F0502020204030204" pitchFamily="34" charset="0"/>
        </a:defRPr>
      </a:lvl1pPr>
      <a:lvl2pPr marL="252000" indent="-252000" algn="l" defTabSz="9144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■"/>
        <a:defRPr lang="en-US" sz="1400" b="0" kern="1200" dirty="0">
          <a:solidFill>
            <a:schemeClr val="tx2"/>
          </a:solidFill>
          <a:latin typeface="+mn-lt"/>
          <a:ea typeface="Cambria" panose="02040503050406030204" pitchFamily="18" charset="0"/>
          <a:cs typeface="Calibri" panose="020F0502020204030204" pitchFamily="34" charset="0"/>
        </a:defRPr>
      </a:lvl2pPr>
      <a:lvl3pPr marL="504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Clr>
          <a:schemeClr val="accent2"/>
        </a:buClr>
        <a:buSzPct val="80000"/>
        <a:buFont typeface="Arial" panose="020B0604020202020204" pitchFamily="34" charset="0"/>
        <a:buChar char="►"/>
        <a:defRPr lang="en-US" sz="1200" kern="1200" dirty="0">
          <a:solidFill>
            <a:schemeClr val="tx2"/>
          </a:solidFill>
          <a:latin typeface="+mn-lt"/>
          <a:ea typeface="Cambria" panose="02040503050406030204" pitchFamily="18" charset="0"/>
          <a:cs typeface="Calibri" panose="020F0502020204030204" pitchFamily="34" charset="0"/>
        </a:defRPr>
      </a:lvl3pPr>
      <a:lvl4pPr marL="756000" indent="-252000" algn="l" defTabSz="914400" rtl="0" eaLnBrk="1" latinLnBrk="0" hangingPunct="1">
        <a:lnSpc>
          <a:spcPct val="105000"/>
        </a:lnSpc>
        <a:spcBef>
          <a:spcPts val="300"/>
        </a:spcBef>
        <a:spcAft>
          <a:spcPts val="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lang="en-US" sz="1100" kern="1200" dirty="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5000"/>
        </a:lnSpc>
        <a:spcBef>
          <a:spcPts val="1800"/>
        </a:spcBef>
        <a:spcAft>
          <a:spcPts val="0"/>
        </a:spcAft>
        <a:buFontTx/>
        <a:buNone/>
        <a:defRPr lang="en-GB" sz="1600" b="1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79">
          <p15:clr>
            <a:srgbClr val="F26B43"/>
          </p15:clr>
        </p15:guide>
        <p15:guide id="3" pos="7401">
          <p15:clr>
            <a:srgbClr val="F26B43"/>
          </p15:clr>
        </p15:guide>
        <p15:guide id="4" orient="horz" pos="4088">
          <p15:clr>
            <a:srgbClr val="F26B43"/>
          </p15:clr>
        </p15:guide>
        <p15:guide id="11" orient="horz" pos="232">
          <p15:clr>
            <a:srgbClr val="F26B43"/>
          </p15:clr>
        </p15:guide>
        <p15:guide id="12" orient="horz" pos="777">
          <p15:clr>
            <a:srgbClr val="F26B43"/>
          </p15:clr>
        </p15:guide>
        <p15:guide id="13" orient="horz" pos="913">
          <p15:clr>
            <a:srgbClr val="F26B43"/>
          </p15:clr>
        </p15:guide>
        <p15:guide id="14" orient="horz" pos="1117">
          <p15:clr>
            <a:srgbClr val="F26B43"/>
          </p15:clr>
        </p15:guide>
        <p15:guide id="15" orient="horz" pos="3861">
          <p15:clr>
            <a:srgbClr val="F26B43"/>
          </p15:clr>
        </p15:guide>
        <p15:guide id="16" orient="horz" pos="1412">
          <p15:clr>
            <a:srgbClr val="F26B43"/>
          </p15:clr>
        </p15:guide>
        <p15:guide id="17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63962B6-595A-4E12-A0A9-6972DDBE6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001" y="388800"/>
            <a:ext cx="11303999" cy="9900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30104F-10D5-4E69-8AD4-DB626BE7DA1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 err="1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4D6728C-E3C6-4747-8236-8CE4E25255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4000" y="1799999"/>
            <a:ext cx="11303999" cy="432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empower - DO NOT DELETE!!!" hidden="1">
            <a:extLst>
              <a:ext uri="{FF2B5EF4-FFF2-40B4-BE49-F238E27FC236}">
                <a16:creationId xmlns:a16="http://schemas.microsoft.com/office/drawing/2014/main" id="{F8138B8F-DC43-4331-9714-179CEC0AB132}"/>
              </a:ext>
            </a:extLst>
          </p:cNvPr>
          <p:cNvSpPr/>
          <p:nvPr userDrawn="1">
            <p:custDataLst>
              <p:tags r:id="rId10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615621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  <p:sldLayoutId id="2147483779" r:id="rId21"/>
    <p:sldLayoutId id="2147483780" r:id="rId22"/>
    <p:sldLayoutId id="2147483781" r:id="rId23"/>
    <p:sldLayoutId id="2147483782" r:id="rId24"/>
    <p:sldLayoutId id="2147483783" r:id="rId25"/>
    <p:sldLayoutId id="2147483784" r:id="rId26"/>
    <p:sldLayoutId id="2147483785" r:id="rId27"/>
    <p:sldLayoutId id="2147483786" r:id="rId28"/>
    <p:sldLayoutId id="2147483787" r:id="rId29"/>
    <p:sldLayoutId id="2147483788" r:id="rId30"/>
    <p:sldLayoutId id="2147483789" r:id="rId31"/>
    <p:sldLayoutId id="2147483790" r:id="rId32"/>
    <p:sldLayoutId id="2147483791" r:id="rId33"/>
    <p:sldLayoutId id="2147483792" r:id="rId34"/>
    <p:sldLayoutId id="2147483793" r:id="rId35"/>
    <p:sldLayoutId id="2147483794" r:id="rId36"/>
    <p:sldLayoutId id="2147483795" r:id="rId37"/>
    <p:sldLayoutId id="2147483796" r:id="rId38"/>
    <p:sldLayoutId id="2147483797" r:id="rId39"/>
    <p:sldLayoutId id="2147483798" r:id="rId40"/>
    <p:sldLayoutId id="2147483799" r:id="rId41"/>
    <p:sldLayoutId id="2147483800" r:id="rId42"/>
    <p:sldLayoutId id="2147483801" r:id="rId43"/>
    <p:sldLayoutId id="2147483802" r:id="rId44"/>
    <p:sldLayoutId id="2147483803" r:id="rId45"/>
    <p:sldLayoutId id="2147483804" r:id="rId46"/>
    <p:sldLayoutId id="2147483805" r:id="rId47"/>
    <p:sldLayoutId id="2147483806" r:id="rId48"/>
    <p:sldLayoutId id="2147483807" r:id="rId49"/>
    <p:sldLayoutId id="2147483808" r:id="rId50"/>
    <p:sldLayoutId id="2147483809" r:id="rId51"/>
    <p:sldLayoutId id="2147483810" r:id="rId52"/>
    <p:sldLayoutId id="2147483811" r:id="rId53"/>
    <p:sldLayoutId id="2147483812" r:id="rId54"/>
    <p:sldLayoutId id="2147483813" r:id="rId55"/>
    <p:sldLayoutId id="2147483814" r:id="rId56"/>
    <p:sldLayoutId id="2147483815" r:id="rId57"/>
    <p:sldLayoutId id="2147483816" r:id="rId58"/>
    <p:sldLayoutId id="2147483817" r:id="rId59"/>
    <p:sldLayoutId id="2147483818" r:id="rId60"/>
    <p:sldLayoutId id="2147483819" r:id="rId61"/>
    <p:sldLayoutId id="2147483820" r:id="rId62"/>
    <p:sldLayoutId id="2147483821" r:id="rId63"/>
    <p:sldLayoutId id="2147483822" r:id="rId64"/>
    <p:sldLayoutId id="2147483823" r:id="rId65"/>
    <p:sldLayoutId id="2147483824" r:id="rId66"/>
    <p:sldLayoutId id="2147483825" r:id="rId67"/>
    <p:sldLayoutId id="2147483826" r:id="rId68"/>
    <p:sldLayoutId id="2147483827" r:id="rId69"/>
    <p:sldLayoutId id="2147483828" r:id="rId70"/>
    <p:sldLayoutId id="2147483829" r:id="rId71"/>
    <p:sldLayoutId id="2147483830" r:id="rId72"/>
    <p:sldLayoutId id="2147483831" r:id="rId73"/>
    <p:sldLayoutId id="2147483832" r:id="rId74"/>
    <p:sldLayoutId id="2147483833" r:id="rId75"/>
    <p:sldLayoutId id="2147483834" r:id="rId76"/>
    <p:sldLayoutId id="2147483835" r:id="rId77"/>
    <p:sldLayoutId id="2147483836" r:id="rId78"/>
    <p:sldLayoutId id="2147483837" r:id="rId79"/>
    <p:sldLayoutId id="2147483838" r:id="rId80"/>
    <p:sldLayoutId id="2147483839" r:id="rId81"/>
    <p:sldLayoutId id="2147483840" r:id="rId82"/>
    <p:sldLayoutId id="2147483841" r:id="rId83"/>
    <p:sldLayoutId id="2147483842" r:id="rId84"/>
    <p:sldLayoutId id="2147483843" r:id="rId85"/>
    <p:sldLayoutId id="2147483844" r:id="rId86"/>
    <p:sldLayoutId id="2147483845" r:id="rId87"/>
    <p:sldLayoutId id="2147483846" r:id="rId88"/>
    <p:sldLayoutId id="2147483847" r:id="rId89"/>
    <p:sldLayoutId id="2147483848" r:id="rId90"/>
    <p:sldLayoutId id="2147483849" r:id="rId91"/>
    <p:sldLayoutId id="2147483850" r:id="rId92"/>
    <p:sldLayoutId id="2147483851" r:id="rId93"/>
    <p:sldLayoutId id="2147483852" r:id="rId94"/>
    <p:sldLayoutId id="2147483853" r:id="rId95"/>
    <p:sldLayoutId id="2147483854" r:id="rId96"/>
    <p:sldLayoutId id="2147483855" r:id="rId97"/>
    <p:sldLayoutId id="2147483856" r:id="rId98"/>
    <p:sldLayoutId id="2147483857" r:id="rId99"/>
    <p:sldLayoutId id="2147483858" r:id="rId100"/>
    <p:sldLayoutId id="2147483859" r:id="rId101"/>
    <p:sldLayoutId id="2147483860" r:id="rId102"/>
    <p:sldLayoutId id="2147483861" r:id="rId103"/>
  </p:sldLayoutIdLst>
  <p:hf sldNum="0" hdr="0" ftr="0" dt="0"/>
  <p:txStyles>
    <p:title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1"/>
        </a:buClr>
        <a:buSzPct val="100000"/>
        <a:buFont typeface="Arial" panose="020B0604020202020204" pitchFamily="34" charset="0"/>
        <a:buNone/>
        <a:defRPr lang="en-GB" sz="2800" b="0" kern="1200" dirty="0">
          <a:solidFill>
            <a:schemeClr val="tx2"/>
          </a:solidFill>
          <a:latin typeface="+mj-lt"/>
          <a:ea typeface="Cambria" panose="02040503050406030204" pitchFamily="18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None/>
        <a:defRPr lang="en-US" sz="1400" b="0" kern="1200" dirty="0">
          <a:solidFill>
            <a:schemeClr val="tx2"/>
          </a:solidFill>
          <a:latin typeface="+mn-lt"/>
          <a:ea typeface="Cambria" panose="02040503050406030204" pitchFamily="18" charset="0"/>
          <a:cs typeface="Calibri" panose="020F0502020204030204" pitchFamily="34" charset="0"/>
        </a:defRPr>
      </a:lvl1pPr>
      <a:lvl2pPr marL="252000" indent="-252000" algn="l" defTabSz="9144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■"/>
        <a:defRPr lang="en-US" sz="1400" b="0" kern="1200" dirty="0">
          <a:solidFill>
            <a:schemeClr val="tx2"/>
          </a:solidFill>
          <a:latin typeface="+mn-lt"/>
          <a:ea typeface="Cambria" panose="02040503050406030204" pitchFamily="18" charset="0"/>
          <a:cs typeface="Calibri" panose="020F0502020204030204" pitchFamily="34" charset="0"/>
        </a:defRPr>
      </a:lvl2pPr>
      <a:lvl3pPr marL="504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Clr>
          <a:schemeClr val="accent1"/>
        </a:buClr>
        <a:buSzPct val="80000"/>
        <a:buFont typeface="Arial" panose="020B0604020202020204" pitchFamily="34" charset="0"/>
        <a:buChar char="►"/>
        <a:defRPr lang="en-US" sz="1200" kern="1200" dirty="0">
          <a:solidFill>
            <a:schemeClr val="tx2"/>
          </a:solidFill>
          <a:latin typeface="+mn-lt"/>
          <a:ea typeface="Cambria" panose="02040503050406030204" pitchFamily="18" charset="0"/>
          <a:cs typeface="Calibri" panose="020F0502020204030204" pitchFamily="34" charset="0"/>
        </a:defRPr>
      </a:lvl3pPr>
      <a:lvl4pPr marL="756000" indent="-252000" algn="l" defTabSz="914400" rtl="0" eaLnBrk="1" latinLnBrk="0" hangingPunct="1">
        <a:lnSpc>
          <a:spcPct val="105000"/>
        </a:lnSpc>
        <a:spcBef>
          <a:spcPts val="30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100" kern="1200" dirty="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5000"/>
        </a:lnSpc>
        <a:spcBef>
          <a:spcPts val="1800"/>
        </a:spcBef>
        <a:spcAft>
          <a:spcPts val="0"/>
        </a:spcAft>
        <a:buFontTx/>
        <a:buNone/>
        <a:defRPr lang="en-GB" sz="1600" b="1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79">
          <p15:clr>
            <a:srgbClr val="F26B43"/>
          </p15:clr>
        </p15:guide>
        <p15:guide id="3" pos="7401">
          <p15:clr>
            <a:srgbClr val="F26B43"/>
          </p15:clr>
        </p15:guide>
        <p15:guide id="4" orient="horz" pos="4088">
          <p15:clr>
            <a:srgbClr val="F26B43"/>
          </p15:clr>
        </p15:guide>
        <p15:guide id="11" orient="horz" pos="232">
          <p15:clr>
            <a:srgbClr val="F26B43"/>
          </p15:clr>
        </p15:guide>
        <p15:guide id="12" orient="horz" pos="777">
          <p15:clr>
            <a:srgbClr val="F26B43"/>
          </p15:clr>
        </p15:guide>
        <p15:guide id="13" orient="horz" pos="913">
          <p15:clr>
            <a:srgbClr val="F26B43"/>
          </p15:clr>
        </p15:guide>
        <p15:guide id="14" orient="horz" pos="1117">
          <p15:clr>
            <a:srgbClr val="F26B43"/>
          </p15:clr>
        </p15:guide>
        <p15:guide id="15" orient="horz" pos="3861">
          <p15:clr>
            <a:srgbClr val="F26B43"/>
          </p15:clr>
        </p15:guide>
        <p15:guide id="16" orient="horz" pos="1412">
          <p15:clr>
            <a:srgbClr val="F26B43"/>
          </p15:clr>
        </p15:guide>
        <p15:guide id="17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A4BAB3F-E0FE-4AA3-E032-3FC050B469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45363A-B462-0030-5982-8A67A3B0B3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00E031-2481-222B-7568-4C2D5216E5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57BD19-B15E-43AB-818B-C7686A7AB879}" type="datetimeFigureOut">
              <a:rPr lang="en-IN" smtClean="0"/>
              <a:t>02-12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AF0555-8B85-381D-AC52-809C4FC6D8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8D30D3-B7A5-7608-4582-A526EDC65C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52D492-BB9E-4624-8BF0-E4F1F38D72A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26294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  <p:sldLayoutId id="2147483870" r:id="rId8"/>
    <p:sldLayoutId id="2147483871" r:id="rId9"/>
    <p:sldLayoutId id="2147483872" r:id="rId10"/>
    <p:sldLayoutId id="2147483873" r:id="rId11"/>
    <p:sldLayoutId id="214748387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4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/>
          <p:nvPr/>
        </p:nvSpPr>
        <p:spPr>
          <a:xfrm>
            <a:off x="-1" y="0"/>
            <a:ext cx="4447309" cy="6858000"/>
          </a:xfrm>
          <a:custGeom>
            <a:avLst/>
            <a:gdLst/>
            <a:ahLst/>
            <a:cxnLst/>
            <a:rect l="l" t="t" r="r" b="b"/>
            <a:pathLst>
              <a:path w="5825490" h="6858000">
                <a:moveTo>
                  <a:pt x="5825096" y="0"/>
                </a:moveTo>
                <a:lnTo>
                  <a:pt x="1768259" y="0"/>
                </a:lnTo>
                <a:lnTo>
                  <a:pt x="0" y="6857707"/>
                </a:lnTo>
                <a:lnTo>
                  <a:pt x="4056837" y="6857707"/>
                </a:lnTo>
                <a:lnTo>
                  <a:pt x="5825096" y="0"/>
                </a:lnTo>
                <a:close/>
              </a:path>
            </a:pathLst>
          </a:custGeom>
          <a:solidFill>
            <a:srgbClr val="00ADCE">
              <a:alpha val="89000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73262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802760" y="3055324"/>
            <a:ext cx="8990597" cy="580928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4400"/>
              </a:lnSpc>
              <a:spcBef>
                <a:spcPts val="1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4400" b="0" i="0" u="none" strike="noStrike" kern="1200" cap="none" spc="6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Georgia"/>
              </a:rPr>
              <a:t>GE Gas Power</a:t>
            </a:r>
          </a:p>
        </p:txBody>
      </p:sp>
      <p:sp>
        <p:nvSpPr>
          <p:cNvPr id="16" name="object 16"/>
          <p:cNvSpPr/>
          <p:nvPr/>
        </p:nvSpPr>
        <p:spPr>
          <a:xfrm>
            <a:off x="802760" y="2236863"/>
            <a:ext cx="3175635" cy="547370"/>
          </a:xfrm>
          <a:custGeom>
            <a:avLst/>
            <a:gdLst/>
            <a:ahLst/>
            <a:cxnLst/>
            <a:rect l="l" t="t" r="r" b="b"/>
            <a:pathLst>
              <a:path w="3175634" h="547369">
                <a:moveTo>
                  <a:pt x="3175127" y="0"/>
                </a:moveTo>
                <a:lnTo>
                  <a:pt x="141135" y="0"/>
                </a:lnTo>
                <a:lnTo>
                  <a:pt x="0" y="547357"/>
                </a:lnTo>
                <a:lnTo>
                  <a:pt x="3033991" y="547357"/>
                </a:lnTo>
                <a:lnTo>
                  <a:pt x="3175127" y="0"/>
                </a:lnTo>
                <a:close/>
              </a:path>
            </a:pathLst>
          </a:custGeom>
          <a:solidFill>
            <a:srgbClr val="FF545E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       Genpact Propos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149A5AC-5A70-49DB-B0CF-C7D7174615EC}"/>
              </a:ext>
            </a:extLst>
          </p:cNvPr>
          <p:cNvSpPr txBox="1"/>
          <p:nvPr/>
        </p:nvSpPr>
        <p:spPr>
          <a:xfrm>
            <a:off x="435873" y="5333431"/>
            <a:ext cx="24229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smtClean="0">
                <a:solidFill>
                  <a:srgbClr val="FFFFFF"/>
                </a:solidFill>
                <a:latin typeface="Georgia"/>
              </a:rPr>
              <a:t>December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202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419BD3-4A95-6257-0484-90520C4DC50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Classification: Genpact Internal</a:t>
            </a:r>
          </a:p>
        </p:txBody>
      </p:sp>
    </p:spTree>
    <p:extLst>
      <p:ext uri="{BB962C8B-B14F-4D97-AF65-F5344CB8AC3E}">
        <p14:creationId xmlns:p14="http://schemas.microsoft.com/office/powerpoint/2010/main" val="4921967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BBFAA38-AB54-22B8-41EC-5A7CB8C701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files</a:t>
            </a:r>
          </a:p>
        </p:txBody>
      </p:sp>
    </p:spTree>
    <p:extLst>
      <p:ext uri="{BB962C8B-B14F-4D97-AF65-F5344CB8AC3E}">
        <p14:creationId xmlns:p14="http://schemas.microsoft.com/office/powerpoint/2010/main" val="7984012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98281" y="110059"/>
            <a:ext cx="11277600" cy="119658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                                </a:t>
            </a:r>
          </a:p>
        </p:txBody>
      </p:sp>
      <p:sp>
        <p:nvSpPr>
          <p:cNvPr id="3" name="Right Triangle 2"/>
          <p:cNvSpPr/>
          <p:nvPr/>
        </p:nvSpPr>
        <p:spPr>
          <a:xfrm flipH="1">
            <a:off x="7264841" y="118137"/>
            <a:ext cx="4511040" cy="1188867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516407" y="92681"/>
            <a:ext cx="3938316" cy="98488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Punugoti Nagarjuna Redd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 smtClean="0">
                <a:solidFill>
                  <a:srgbClr val="FFFFFF"/>
                </a:solidFill>
                <a:latin typeface="Calibri" panose="020F0502020204030204"/>
                <a:ea typeface="+mn-lt"/>
                <a:cs typeface="Calibri" panose="020F0502020204030204"/>
              </a:rPr>
              <a:t>Consultan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lt"/>
              <a:cs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66" name="Text Box 12"/>
          <p:cNvSpPr txBox="1">
            <a:spLocks noChangeArrowheads="1"/>
          </p:cNvSpPr>
          <p:nvPr/>
        </p:nvSpPr>
        <p:spPr bwMode="auto">
          <a:xfrm>
            <a:off x="508069" y="1857942"/>
            <a:ext cx="3290508" cy="1678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FA1A4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ＭＳ Ｐゴシック"/>
                <a:cs typeface="Calibri"/>
              </a:rPr>
              <a:t>Skill Set:</a:t>
            </a: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lang="en-US" sz="1200" b="0" dirty="0" smtClean="0">
                <a:solidFill>
                  <a:srgbClr val="002060"/>
                </a:solidFill>
                <a:latin typeface="Calibri"/>
                <a:ea typeface="Calibri Light"/>
                <a:cs typeface="Calibri"/>
              </a:rPr>
              <a:t>Python Script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Calibri Light"/>
              <a:cs typeface="Arial"/>
            </a:endParaRP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lang="en-US" sz="1200" b="0" dirty="0" smtClean="0">
                <a:solidFill>
                  <a:srgbClr val="002060"/>
                </a:solidFill>
                <a:latin typeface="Calibri"/>
                <a:ea typeface="Calibri Light"/>
                <a:cs typeface="Calibri"/>
              </a:rPr>
              <a:t>Ansible </a:t>
            </a: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libri Light"/>
                <a:cs typeface="Calibri"/>
              </a:rPr>
              <a:t>Jenkin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Calibri Light"/>
              <a:cs typeface="Arial"/>
            </a:endParaRP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lang="en-US" sz="1200" b="0" dirty="0" smtClean="0">
                <a:solidFill>
                  <a:srgbClr val="002060"/>
                </a:solidFill>
                <a:latin typeface="Calibri"/>
                <a:cs typeface="Calibri"/>
              </a:rPr>
              <a:t>AWS Cloud servic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ＭＳ Ｐゴシック" pitchFamily="34" charset="-128"/>
              <a:cs typeface="Arial"/>
            </a:endParaRP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lang="en-US" sz="1200" b="0" dirty="0" smtClean="0">
                <a:solidFill>
                  <a:srgbClr val="002060"/>
                </a:solidFill>
                <a:latin typeface="Calibri"/>
                <a:ea typeface="Calibri Light"/>
                <a:cs typeface="Calibri"/>
              </a:rPr>
              <a:t>REST API</a:t>
            </a: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libri Light"/>
                <a:cs typeface="Calibri"/>
              </a:rPr>
              <a:t>Jenkin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Calibri Light"/>
              <a:cs typeface="Arial"/>
            </a:endParaRP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lang="en-US" sz="1200" b="0" dirty="0" smtClean="0">
                <a:solidFill>
                  <a:srgbClr val="002060"/>
                </a:solidFill>
                <a:latin typeface="Calibri"/>
                <a:ea typeface="Calibri Light"/>
                <a:cs typeface="Calibri"/>
              </a:rPr>
              <a:t>Terraform</a:t>
            </a: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Calibri"/>
              </a:rPr>
              <a:t>Linux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ＭＳ Ｐゴシック" pitchFamily="34" charset="-128"/>
              <a:cs typeface="Arial"/>
            </a:endParaRP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IDE like </a:t>
            </a:r>
            <a:r>
              <a:rPr lang="en-US" sz="1200" b="0" dirty="0" smtClean="0">
                <a:solidFill>
                  <a:srgbClr val="002060"/>
                </a:solidFill>
                <a:latin typeface="Calibri"/>
                <a:ea typeface="Calibri"/>
                <a:cs typeface="Calibri"/>
              </a:rPr>
              <a:t>VS code</a:t>
            </a: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/>
            </a:endParaRP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,Sans-Serif" panose="020B0604020202020204" pitchFamily="34" charset="0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ＭＳ Ｐゴシック" pitchFamily="34" charset="-128"/>
              <a:cs typeface="Arial"/>
            </a:endParaRP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>
                <a:srgbClr val="000000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Calibri Light"/>
              <a:cs typeface="Calibri Light"/>
            </a:endParaRP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>
                <a:srgbClr val="000000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Calibri Light"/>
              <a:cs typeface="Calibri Light"/>
            </a:endParaRP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ＭＳ Ｐゴシック"/>
              <a:cs typeface="Calibri"/>
            </a:endParaRP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555F"/>
              </a:buClr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ＭＳ Ｐゴシック" pitchFamily="34" charset="-128"/>
              <a:cs typeface="Calibri"/>
            </a:endParaRPr>
          </a:p>
        </p:txBody>
      </p:sp>
      <p:sp>
        <p:nvSpPr>
          <p:cNvPr id="67" name="Text Box 12"/>
          <p:cNvSpPr txBox="1">
            <a:spLocks noChangeArrowheads="1"/>
          </p:cNvSpPr>
          <p:nvPr/>
        </p:nvSpPr>
        <p:spPr bwMode="auto">
          <a:xfrm>
            <a:off x="506507" y="3639326"/>
            <a:ext cx="3126277" cy="731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FA1A4"/>
              </a:buClr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ＭＳ Ｐゴシック"/>
              <a:cs typeface="Calibri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FA1A4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ＭＳ Ｐゴシック"/>
                <a:cs typeface="Calibri"/>
              </a:rPr>
              <a:t>Education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ＭＳ Ｐゴシック"/>
                <a:cs typeface="Calibri"/>
              </a:rPr>
              <a:t>and Certification:</a:t>
            </a: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lang="en-US" sz="1200" b="0" dirty="0" smtClean="0">
                <a:solidFill>
                  <a:srgbClr val="002060"/>
                </a:solidFill>
                <a:latin typeface="Calibri"/>
                <a:ea typeface="Calibri"/>
                <a:cs typeface="Calibri"/>
              </a:rPr>
              <a:t>M.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Tech.(Avionics)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Calibri"/>
              <a:cs typeface="Arial"/>
            </a:endParaRP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 flipV="1">
            <a:off x="420234" y="4261833"/>
            <a:ext cx="3013172" cy="4484"/>
          </a:xfrm>
          <a:prstGeom prst="line">
            <a:avLst/>
          </a:prstGeom>
          <a:ln>
            <a:headEnd type="diamond" w="med" len="med"/>
            <a:tailEnd type="diamond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4" name="Text Box 12"/>
          <p:cNvSpPr txBox="1">
            <a:spLocks noChangeArrowheads="1"/>
          </p:cNvSpPr>
          <p:nvPr/>
        </p:nvSpPr>
        <p:spPr bwMode="auto">
          <a:xfrm>
            <a:off x="485135" y="4293685"/>
            <a:ext cx="2814271" cy="846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FA1A4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ＭＳ Ｐゴシック"/>
                <a:cs typeface="Calibri"/>
              </a:rPr>
              <a:t>Expertise</a:t>
            </a: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ＭＳ Ｐゴシック"/>
                <a:cs typeface="Calibri"/>
              </a:rPr>
              <a:t>: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ＭＳ Ｐゴシック"/>
              <a:cs typeface="Calibri"/>
            </a:endParaRP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Calibri"/>
                <a:cs typeface="+mn-cs"/>
              </a:rPr>
              <a:t>Project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Calibri"/>
                <a:cs typeface="+mn-cs"/>
              </a:rPr>
              <a:t>Development</a:t>
            </a: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lang="en-US" sz="1200" b="0" dirty="0" smtClean="0">
                <a:solidFill>
                  <a:srgbClr val="002060"/>
                </a:solidFill>
                <a:latin typeface="Calibri" panose="020F0502020204030204"/>
                <a:ea typeface="Calibri"/>
              </a:rPr>
              <a:t>Ansible Cloud automa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Calibri"/>
              <a:cs typeface="Arial"/>
            </a:endParaRP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Calibri"/>
                <a:cs typeface="+mn-cs"/>
              </a:rPr>
              <a:t>Maintenanc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Calibri"/>
              <a:cs typeface="Arial"/>
            </a:endParaRPr>
          </a:p>
          <a:p>
            <a:pPr marL="285750" marR="0" lvl="0" indent="-2857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,Sans-Serif" panose="020B0604020202020204" pitchFamily="34" charset="0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8D44754-7E48-4D0C-B1BF-6F12F6A7EA05}"/>
              </a:ext>
            </a:extLst>
          </p:cNvPr>
          <p:cNvSpPr/>
          <p:nvPr/>
        </p:nvSpPr>
        <p:spPr>
          <a:xfrm>
            <a:off x="3861916" y="3407143"/>
            <a:ext cx="8117205" cy="249299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Collaborate with stakeholders to understand business Requirement and convert them into Epic, features, and user storie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Worked as an individual contributor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Linux and Infra maintenance in</a:t>
            </a:r>
            <a:r>
              <a:rPr kumimoji="0" lang="en-US" sz="1200" b="0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 Telecom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Domain for Product Using Methodology SDLC(Software Development Life Cycle)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lt"/>
              <a:cs typeface="Calibri" panose="020F0502020204030204"/>
            </a:endParaRP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Worke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on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Cloud Automations Ansible, Python ,AWS cloud  and Linux maintenance </a:t>
            </a: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Provide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Services like Development/Application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Telecom Domain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projects based on various </a:t>
            </a:r>
            <a:r>
              <a:rPr lang="en-US" sz="1200" dirty="0" smtClean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Devops Process tools an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 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technologies</a:t>
            </a: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lang="en-US" sz="1200" dirty="0" smtClean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Experienced in writing Python scripting for automating AWS Cloud infrastructure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lt"/>
              <a:cs typeface="Calibri" panose="020F0502020204030204"/>
            </a:endParaRP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 Requirement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gathering, Analysis of requirement. Finalizing the requirement by interacting with client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lt"/>
              <a:cs typeface="Calibri" panose="020F0502020204030204"/>
            </a:endParaRP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 Performed development keeping in mind code reusability, code clean up 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lt"/>
              <a:cs typeface="Calibri" panose="020F0502020204030204"/>
            </a:endParaRP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 Unit Testing, Manual Deployment in servers. Providing support </a:t>
            </a:r>
            <a:r>
              <a:rPr lang="en-US" sz="1200" dirty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i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 QA testing</a:t>
            </a: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 Analyses of ticket which comes for IT Research and doing the development and enhancement as per the requirement</a:t>
            </a: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 Experienc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in providing QA support during the QA testing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73262"/>
              </a:solidFill>
              <a:effectLst/>
              <a:uLnTx/>
              <a:uFillTx/>
              <a:latin typeface="Calibri" panose="020F0502020204030204"/>
              <a:ea typeface="+mn-lt"/>
              <a:cs typeface="Calibri" panose="020F0502020204030204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7830" y="1374856"/>
            <a:ext cx="11278514" cy="338554"/>
          </a:xfrm>
          <a:prstGeom prst="rect">
            <a:avLst/>
          </a:prstGeom>
          <a:solidFill>
            <a:schemeClr val="accent2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lvl="0" algn="ctr">
              <a:defRPr/>
            </a:pPr>
            <a:r>
              <a:rPr lang="en-US" sz="1600" b="1" dirty="0" smtClean="0">
                <a:solidFill>
                  <a:prstClr val="black"/>
                </a:solidFill>
                <a:latin typeface="Calibri" panose="020F0502020204030204"/>
                <a:ea typeface="+mn-lt"/>
                <a:cs typeface="Calibri" panose="020F0502020204030204"/>
              </a:rPr>
              <a:t>Linux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| </a:t>
            </a:r>
            <a:r>
              <a:rPr lang="en-US" sz="1600" b="1" dirty="0" smtClean="0">
                <a:solidFill>
                  <a:prstClr val="black"/>
                </a:solidFill>
                <a:latin typeface="Calibri" panose="020F0502020204030204"/>
                <a:ea typeface="+mn-lt"/>
                <a:cs typeface="Calibri" panose="020F0502020204030204"/>
              </a:rPr>
              <a:t>Python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| </a:t>
            </a:r>
            <a:r>
              <a:rPr lang="en-US" sz="1600" b="1" dirty="0" smtClean="0">
                <a:solidFill>
                  <a:prstClr val="black"/>
                </a:solidFill>
                <a:latin typeface="Calibri" panose="020F0502020204030204"/>
                <a:ea typeface="+mn-lt"/>
                <a:cs typeface="Calibri" panose="020F0502020204030204"/>
              </a:rPr>
              <a:t>Ansible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 |</a:t>
            </a:r>
            <a:r>
              <a:rPr lang="en-US" sz="1600" b="1" dirty="0">
                <a:solidFill>
                  <a:prstClr val="black"/>
                </a:solidFill>
                <a:ea typeface="+mn-lt"/>
                <a:cs typeface="Calibri" panose="020F0502020204030204"/>
              </a:rPr>
              <a:t> Ansible </a:t>
            </a:r>
            <a:r>
              <a:rPr lang="en-US" sz="1600" b="1" dirty="0" smtClean="0">
                <a:solidFill>
                  <a:prstClr val="black"/>
                </a:solidFill>
                <a:ea typeface="+mn-lt"/>
                <a:cs typeface="Calibri" panose="020F0502020204030204"/>
              </a:rPr>
              <a:t>Tower| </a:t>
            </a:r>
            <a:r>
              <a:rPr lang="en-US" sz="1600" b="1" dirty="0" smtClean="0">
                <a:solidFill>
                  <a:prstClr val="black"/>
                </a:solidFill>
                <a:latin typeface="Calibri" panose="020F0502020204030204"/>
                <a:ea typeface="+mn-lt"/>
                <a:cs typeface="Calibri" panose="020F0502020204030204"/>
              </a:rPr>
              <a:t>AWS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| </a:t>
            </a:r>
            <a:r>
              <a:rPr lang="en-US" sz="1600" b="1" noProof="0" dirty="0" smtClean="0">
                <a:solidFill>
                  <a:prstClr val="black"/>
                </a:solidFill>
                <a:latin typeface="Calibri" panose="020F0502020204030204"/>
                <a:ea typeface="+mn-lt"/>
                <a:cs typeface="Calibri" panose="020F0502020204030204"/>
              </a:rPr>
              <a:t>Terraform</a:t>
            </a:r>
            <a:r>
              <a:rPr lang="en-US" sz="1600" b="1" dirty="0" smtClean="0">
                <a:solidFill>
                  <a:prstClr val="black"/>
                </a:solidFill>
                <a:latin typeface="Calibri" panose="020F0502020204030204"/>
                <a:ea typeface="+mn-lt"/>
                <a:cs typeface="Calibri" panose="020F0502020204030204"/>
              </a:rPr>
              <a:t> | Docker |Shell Scripting | Jenkins |AP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lt"/>
              <a:cs typeface="Calibri" panose="020F0502020204030204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873708" y="2224443"/>
            <a:ext cx="7964805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Having </a:t>
            </a:r>
            <a:r>
              <a:rPr lang="en-US" sz="1200" b="1" dirty="0" smtClean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5.2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years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 of experience in </a:t>
            </a:r>
            <a:r>
              <a:rPr lang="en-US" sz="1200" dirty="0" smtClean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Telecom and Power&amp;Energy</a:t>
            </a:r>
            <a:r>
              <a:rPr kumimoji="0" 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domain by using technologies like </a:t>
            </a:r>
            <a:r>
              <a:rPr lang="en-US" sz="1200" dirty="0" smtClean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Python</a:t>
            </a:r>
            <a:r>
              <a:rPr kumimoji="0" 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, Ansible, Linux, Jenkins, Terraform</a:t>
            </a:r>
            <a:r>
              <a:rPr lang="en-US" sz="1200" dirty="0" smtClean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,</a:t>
            </a:r>
            <a:r>
              <a:rPr kumimoji="0" 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Application Maintenance using Software Development life cycle and Agile methodology. Having experience in </a:t>
            </a:r>
            <a:r>
              <a:rPr lang="en-US" sz="1200" dirty="0" smtClean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Devops Process and automating infrastructure</a:t>
            </a:r>
            <a:r>
              <a:rPr kumimoji="0" 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.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 flipV="1">
            <a:off x="420234" y="3699129"/>
            <a:ext cx="3013172" cy="4484"/>
          </a:xfrm>
          <a:prstGeom prst="line">
            <a:avLst/>
          </a:prstGeom>
          <a:ln>
            <a:headEnd type="diamond" w="med" len="med"/>
            <a:tailEnd type="diamond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2D12A164-4603-DC43-DAFC-BB075405136F}"/>
              </a:ext>
            </a:extLst>
          </p:cNvPr>
          <p:cNvSpPr/>
          <p:nvPr/>
        </p:nvSpPr>
        <p:spPr>
          <a:xfrm>
            <a:off x="3871383" y="1860550"/>
            <a:ext cx="7831665" cy="2857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B98C10A-6FC2-79D2-CAC4-15BC60382ABA}"/>
              </a:ext>
            </a:extLst>
          </p:cNvPr>
          <p:cNvSpPr txBox="1"/>
          <p:nvPr/>
        </p:nvSpPr>
        <p:spPr>
          <a:xfrm>
            <a:off x="3886412" y="1851923"/>
            <a:ext cx="7287472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Snapsho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3A8344-0044-CDFE-9EB4-995DFB154A2D}"/>
              </a:ext>
            </a:extLst>
          </p:cNvPr>
          <p:cNvSpPr/>
          <p:nvPr/>
        </p:nvSpPr>
        <p:spPr>
          <a:xfrm>
            <a:off x="3886412" y="3032645"/>
            <a:ext cx="7831665" cy="2857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251F3AD-EBDD-0D4E-75B1-C2386B54844C}"/>
              </a:ext>
            </a:extLst>
          </p:cNvPr>
          <p:cNvSpPr txBox="1"/>
          <p:nvPr/>
        </p:nvSpPr>
        <p:spPr>
          <a:xfrm>
            <a:off x="3898574" y="3010219"/>
            <a:ext cx="7287472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Professional Summary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12">
            <a:extLst>
              <a:ext uri="{FF2B5EF4-FFF2-40B4-BE49-F238E27FC236}">
                <a16:creationId xmlns:a16="http://schemas.microsoft.com/office/drawing/2014/main" id="{E6BBEE96-4236-51E0-312D-A34269EDDA3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562" y="99645"/>
            <a:ext cx="929801" cy="1195459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D76E9B4-9DB0-7AF6-A6D5-EFFECF399D25}"/>
              </a:ext>
            </a:extLst>
          </p:cNvPr>
          <p:cNvCxnSpPr/>
          <p:nvPr/>
        </p:nvCxnSpPr>
        <p:spPr>
          <a:xfrm flipV="1">
            <a:off x="420234" y="5280688"/>
            <a:ext cx="3013172" cy="4484"/>
          </a:xfrm>
          <a:prstGeom prst="line">
            <a:avLst/>
          </a:prstGeom>
          <a:ln>
            <a:headEnd type="diamond" w="med" len="med"/>
            <a:tailEnd type="diamond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" name="Text Box 12">
            <a:extLst>
              <a:ext uri="{FF2B5EF4-FFF2-40B4-BE49-F238E27FC236}">
                <a16:creationId xmlns:a16="http://schemas.microsoft.com/office/drawing/2014/main" id="{24EAA2F0-B8FF-0710-401E-FFA268C8CC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6842" y="5319455"/>
            <a:ext cx="3290508" cy="1020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FA1A4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ＭＳ Ｐゴシック"/>
                <a:cs typeface="Calibri"/>
              </a:rPr>
              <a:t>Key Project:</a:t>
            </a: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Calibri"/>
                <a:cs typeface="+mn-cs"/>
              </a:rPr>
              <a:t>Linux Server</a:t>
            </a:r>
            <a:r>
              <a:rPr kumimoji="0" lang="en-US" sz="1200" b="0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Calibri"/>
                <a:cs typeface="+mn-cs"/>
              </a:rPr>
              <a:t> Administra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Calibri"/>
              <a:cs typeface="+mn-cs"/>
            </a:endParaRP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lang="en-US" sz="1200" b="0" dirty="0" smtClean="0">
                <a:solidFill>
                  <a:srgbClr val="002060"/>
                </a:solidFill>
                <a:latin typeface="Calibri" panose="020F0502020204030204"/>
              </a:rPr>
              <a:t>AWS Cloud Automations </a:t>
            </a:r>
            <a:endParaRPr lang="en-US" sz="1200" b="0" dirty="0">
              <a:solidFill>
                <a:srgbClr val="002060"/>
              </a:solidFill>
              <a:latin typeface="Calibri" panose="020F0502020204030204"/>
            </a:endParaRPr>
          </a:p>
          <a:p>
            <a:pPr marR="0" lvl="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endParaRPr lang="en-US" sz="1200" b="0" dirty="0">
              <a:solidFill>
                <a:srgbClr val="002060"/>
              </a:solidFill>
              <a:latin typeface="Calibri" panose="020F0502020204030204"/>
            </a:endParaRPr>
          </a:p>
          <a:p>
            <a:pPr marL="171450" marR="0" lvl="0" indent="-17145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endParaRPr lang="en-US" sz="1200" b="0" dirty="0">
              <a:solidFill>
                <a:srgbClr val="00206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7810050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2">
            <a:extLst>
              <a:ext uri="{FF2B5EF4-FFF2-40B4-BE49-F238E27FC236}">
                <a16:creationId xmlns:a16="http://schemas.microsoft.com/office/drawing/2014/main" id="{44C30276-0C57-4213-8E5E-62C0D31226F4}"/>
              </a:ext>
            </a:extLst>
          </p:cNvPr>
          <p:cNvSpPr txBox="1">
            <a:spLocks/>
          </p:cNvSpPr>
          <p:nvPr/>
        </p:nvSpPr>
        <p:spPr>
          <a:xfrm>
            <a:off x="457200" y="2393936"/>
            <a:ext cx="5150436" cy="955816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8000" kern="1200">
                <a:solidFill>
                  <a:schemeClr val="bg1"/>
                </a:solidFill>
                <a:latin typeface="+mj-lt"/>
                <a:ea typeface="Cambria" panose="02040503050406030204" pitchFamily="18" charset="0"/>
                <a:cs typeface="+mn-cs"/>
              </a:defRPr>
            </a:lvl1pPr>
            <a:lvl2pPr marL="720725" indent="-2778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60475" indent="-3460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4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Cambria" panose="02040503050406030204" pitchFamily="18" charset="0"/>
                <a:cs typeface="+mn-cs"/>
              </a:rPr>
              <a:t>Thank you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F10C5DB-E2E9-474F-B9A5-9A81737F8046}"/>
              </a:ext>
            </a:extLst>
          </p:cNvPr>
          <p:cNvCxnSpPr/>
          <p:nvPr/>
        </p:nvCxnSpPr>
        <p:spPr>
          <a:xfrm>
            <a:off x="442799" y="3434394"/>
            <a:ext cx="644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0"/>
                  </a:schemeClr>
                </a:gs>
                <a:gs pos="88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7DE9424A-AF70-3C43-BD82-77E3C7B0B26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alphaModFix amt="7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97306" y="3349752"/>
            <a:ext cx="4572000" cy="3360871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3D972DF0-0F1E-9D0A-7FA7-5755F701EE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4E4F3C1-7AFE-BE7E-BEE6-036D02A825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Classification: Genpact Internal</a:t>
            </a:r>
          </a:p>
        </p:txBody>
      </p:sp>
    </p:spTree>
    <p:extLst>
      <p:ext uri="{BB962C8B-B14F-4D97-AF65-F5344CB8AC3E}">
        <p14:creationId xmlns:p14="http://schemas.microsoft.com/office/powerpoint/2010/main" val="21623287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60cf1f57-96f0-41c5-80b0-6bdd055b943f"/>
  <p:tag name="MIO_UPDATE" val="True"/>
  <p:tag name="MIO_VERSION" val="28.12.2020 13:34:11"/>
  <p:tag name="MIO_DBID" val="B8FCB12D-AF03-49EB-9F79-BB019BE99E1E"/>
  <p:tag name="MIO_LASTDOWNLOADED" val="28.12.2020 18:24:09.936"/>
  <p:tag name="MIO_OBJECTNAME" val="G"/>
  <p:tag name="MIO_CDID" val="3d435a17-43bc-49ce-8c2a-a6b042be0530"/>
  <p:tag name="MIO_FALLBACK_LAYOUT" val="16"/>
  <p:tag name="MIO_SHOW_DATE" val="False"/>
  <p:tag name="MIO_SHOW_FOOTER" val="False"/>
  <p:tag name="MIO_SHOW_PAGENUMBER" val="False"/>
  <p:tag name="MIO_AVOID_BLANK_LAYOUT" val="False"/>
  <p:tag name="MIO_CD_LAYOUT_VALID_AREA" val="False"/>
  <p:tag name="MIO_NUMBER_OF_VALID_LAYOUTS" val="9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60cf1f57-96f0-41c5-80b0-6bdd055b943f"/>
  <p:tag name="MIO_UPDATE" val="True"/>
  <p:tag name="MIO_VERSION" val="28.12.2020 13:34:11"/>
  <p:tag name="MIO_DBID" val="B8FCB12D-AF03-49EB-9F79-BB019BE99E1E"/>
  <p:tag name="MIO_LASTDOWNLOADED" val="28.12.2020 18:24:09.936"/>
  <p:tag name="MIO_OBJECTNAME" val="G"/>
  <p:tag name="MIO_CDID" val="3d435a17-43bc-49ce-8c2a-a6b042be0530"/>
  <p:tag name="MIO_FALLBACK_LAYOUT" val="16"/>
  <p:tag name="MIO_SHOW_DATE" val="False"/>
  <p:tag name="MIO_SHOW_FOOTER" val="False"/>
  <p:tag name="MIO_SHOW_PAGENUMBER" val="False"/>
  <p:tag name="MIO_AVOID_BLANK_LAYOUT" val="False"/>
  <p:tag name="MIO_CD_LAYOUT_VALID_AREA" val="False"/>
  <p:tag name="MIO_NUMBER_OF_VALID_LAYOUTS" val="9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heme/theme1.xml><?xml version="1.0" encoding="utf-8"?>
<a:theme xmlns:a="http://schemas.openxmlformats.org/drawingml/2006/main" name="Genpact">
  <a:themeElements>
    <a:clrScheme name="Custom 2">
      <a:dk1>
        <a:srgbClr val="000000"/>
      </a:dk1>
      <a:lt1>
        <a:srgbClr val="FFFFFF"/>
      </a:lt1>
      <a:dk2>
        <a:srgbClr val="021D44"/>
      </a:dk2>
      <a:lt2>
        <a:srgbClr val="798399"/>
      </a:lt2>
      <a:accent1>
        <a:srgbClr val="00AECF"/>
      </a:accent1>
      <a:accent2>
        <a:srgbClr val="FF555F"/>
      </a:accent2>
      <a:accent3>
        <a:srgbClr val="073262"/>
      </a:accent3>
      <a:accent4>
        <a:srgbClr val="007199"/>
      </a:accent4>
      <a:accent5>
        <a:srgbClr val="894560"/>
      </a:accent5>
      <a:accent6>
        <a:srgbClr val="10548C"/>
      </a:accent6>
      <a:hlink>
        <a:srgbClr val="10548C"/>
      </a:hlink>
      <a:folHlink>
        <a:srgbClr val="894560"/>
      </a:folHlink>
    </a:clrScheme>
    <a:fontScheme name="Genpact theme fo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90000" tIns="45720" rIns="91440" bIns="45720" rtlCol="0" anchor="t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.pptx" id="{8947D1FA-D558-4397-9DEC-F51A546E4522}" vid="{5FDE3245-4D5E-4FC7-81BA-CFDB4C0A125D}"/>
    </a:ext>
  </a:extLst>
</a:theme>
</file>

<file path=ppt/theme/theme2.xml><?xml version="1.0" encoding="utf-8"?>
<a:theme xmlns:a="http://schemas.openxmlformats.org/drawingml/2006/main" name="2022_Genpact">
  <a:themeElements>
    <a:clrScheme name="Custom 2">
      <a:dk1>
        <a:srgbClr val="000000"/>
      </a:dk1>
      <a:lt1>
        <a:srgbClr val="FFFFFF"/>
      </a:lt1>
      <a:dk2>
        <a:srgbClr val="021D44"/>
      </a:dk2>
      <a:lt2>
        <a:srgbClr val="798399"/>
      </a:lt2>
      <a:accent1>
        <a:srgbClr val="00AECF"/>
      </a:accent1>
      <a:accent2>
        <a:srgbClr val="FF555F"/>
      </a:accent2>
      <a:accent3>
        <a:srgbClr val="073262"/>
      </a:accent3>
      <a:accent4>
        <a:srgbClr val="007199"/>
      </a:accent4>
      <a:accent5>
        <a:srgbClr val="894560"/>
      </a:accent5>
      <a:accent6>
        <a:srgbClr val="10548C"/>
      </a:accent6>
      <a:hlink>
        <a:srgbClr val="10548C"/>
      </a:hlink>
      <a:folHlink>
        <a:srgbClr val="894560"/>
      </a:folHlink>
    </a:clrScheme>
    <a:fontScheme name="Genpact theme fo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90000" tIns="45720" rIns="91440" bIns="45720" rtlCol="0" anchor="t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.pptx" id="{8947D1FA-D558-4397-9DEC-F51A546E4522}" vid="{5FDE3245-4D5E-4FC7-81BA-CFDB4C0A125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DEEC62F9D0FD429404283948144A8E" ma:contentTypeVersion="9" ma:contentTypeDescription="Create a new document." ma:contentTypeScope="" ma:versionID="b70f75ebc9b24180dc34b37cfd84040d">
  <xsd:schema xmlns:xsd="http://www.w3.org/2001/XMLSchema" xmlns:xs="http://www.w3.org/2001/XMLSchema" xmlns:p="http://schemas.microsoft.com/office/2006/metadata/properties" xmlns:ns2="a96499f7-6df7-4e44-86a7-30215d17851c" xmlns:ns3="c7d0f688-f474-46b4-9da3-3e723334e25c" targetNamespace="http://schemas.microsoft.com/office/2006/metadata/properties" ma:root="true" ma:fieldsID="9b960c2e157fe3dd1bda1f4de7541d97" ns2:_="" ns3:_="">
    <xsd:import namespace="a96499f7-6df7-4e44-86a7-30215d17851c"/>
    <xsd:import namespace="c7d0f688-f474-46b4-9da3-3e723334e25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6499f7-6df7-4e44-86a7-30215d17851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cc962de5-690c-40f6-9925-46ff4f3fc18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d0f688-f474-46b4-9da3-3e723334e25c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2a58d0b-6668-4362-9904-423d4abb1867}" ma:internalName="TaxCatchAll" ma:showField="CatchAllData" ma:web="c7d0f688-f474-46b4-9da3-3e723334e25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7d0f688-f474-46b4-9da3-3e723334e25c" xsi:nil="true"/>
    <lcf76f155ced4ddcb4097134ff3c332f xmlns="a96499f7-6df7-4e44-86a7-30215d17851c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7A3DCEF-079F-4216-8C28-0A542D4E0EA1}">
  <ds:schemaRefs>
    <ds:schemaRef ds:uri="a96499f7-6df7-4e44-86a7-30215d17851c"/>
    <ds:schemaRef ds:uri="c7d0f688-f474-46b4-9da3-3e723334e25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D63804A-7F1F-4543-9E38-96F9426600EF}">
  <ds:schemaRefs>
    <ds:schemaRef ds:uri="http://purl.org/dc/terms/"/>
    <ds:schemaRef ds:uri="c7d0f688-f474-46b4-9da3-3e723334e25c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a96499f7-6df7-4e44-86a7-30215d17851c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A933B7B-642A-4061-9B85-2D15893F49F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00</TotalTime>
  <Words>295</Words>
  <Application>Microsoft Office PowerPoint</Application>
  <PresentationFormat>Widescreen</PresentationFormat>
  <Paragraphs>54</Paragraphs>
  <Slides>4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4</vt:i4>
      </vt:variant>
    </vt:vector>
  </HeadingPairs>
  <TitlesOfParts>
    <vt:vector size="16" baseType="lpstr">
      <vt:lpstr>ＭＳ Ｐゴシック</vt:lpstr>
      <vt:lpstr>Arial</vt:lpstr>
      <vt:lpstr>Arial,Sans-Serif</vt:lpstr>
      <vt:lpstr>Calibri</vt:lpstr>
      <vt:lpstr>Calibri Light</vt:lpstr>
      <vt:lpstr>Cambria</vt:lpstr>
      <vt:lpstr>Georgia</vt:lpstr>
      <vt:lpstr>Wingdings</vt:lpstr>
      <vt:lpstr>Wingdings,Sans-Serif</vt:lpstr>
      <vt:lpstr>Genpact</vt:lpstr>
      <vt:lpstr>2022_Genpact</vt:lpstr>
      <vt:lpstr>Office Theme</vt:lpstr>
      <vt:lpstr>PowerPoint Presentation</vt:lpstr>
      <vt:lpstr>Profiles</vt:lpstr>
      <vt:lpstr>PowerPoint Presentation</vt:lpstr>
      <vt:lpstr>Thank You</vt:lpstr>
    </vt:vector>
  </TitlesOfParts>
  <Company>Genpact LL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upta, Lakshya L</dc:creator>
  <cp:lastModifiedBy>Reddy, Punugoti</cp:lastModifiedBy>
  <cp:revision>42</cp:revision>
  <dcterms:created xsi:type="dcterms:W3CDTF">2022-11-02T17:27:35Z</dcterms:created>
  <dcterms:modified xsi:type="dcterms:W3CDTF">2022-12-02T06:52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DEEC62F9D0FD429404283948144A8E</vt:lpwstr>
  </property>
</Properties>
</file>